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4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5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6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7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8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9.bin" ContentType="application/vnd.openxmlformats-officedocument.oleObject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10.bin" ContentType="application/vnd.openxmlformats-officedocument.oleObject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11.bin" ContentType="application/vnd.openxmlformats-officedocument.oleObject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12.bin" ContentType="application/vnd.openxmlformats-officedocument.oleObject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13.bin" ContentType="application/vnd.openxmlformats-officedocument.oleObject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14.bin" ContentType="application/vnd.openxmlformats-officedocument.oleObject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15.bin" ContentType="application/vnd.openxmlformats-officedocument.oleObject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6.xml" ContentType="application/vnd.openxmlformats-officedocument.presentationml.notesSlide+xml"/>
  <Override PartName="/ppt/embeddings/oleObject16.bin" ContentType="application/vnd.openxmlformats-officedocument.oleObject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7.xml" ContentType="application/vnd.openxmlformats-officedocument.presentationml.notesSlide+xml"/>
  <Override PartName="/ppt/embeddings/oleObject17.bin" ContentType="application/vnd.openxmlformats-officedocument.oleObject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8.xml" ContentType="application/vnd.openxmlformats-officedocument.presentationml.notesSlide+xml"/>
  <Override PartName="/ppt/embeddings/oleObject18.bin" ContentType="application/vnd.openxmlformats-officedocument.oleObject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9.xml" ContentType="application/vnd.openxmlformats-officedocument.presentationml.notesSlide+xml"/>
  <Override PartName="/ppt/embeddings/oleObject19.bin" ContentType="application/vnd.openxmlformats-officedocument.oleObject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0.xml" ContentType="application/vnd.openxmlformats-officedocument.presentationml.notesSlide+xml"/>
  <Override PartName="/ppt/embeddings/oleObject20.bin" ContentType="application/vnd.openxmlformats-officedocument.oleObject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1.xml" ContentType="application/vnd.openxmlformats-officedocument.presentationml.notesSlide+xml"/>
  <Override PartName="/ppt/embeddings/oleObject21.bin" ContentType="application/vnd.openxmlformats-officedocument.oleObject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2.xml" ContentType="application/vnd.openxmlformats-officedocument.presentationml.notesSlide+xml"/>
  <Override PartName="/ppt/embeddings/oleObject22.bin" ContentType="application/vnd.openxmlformats-officedocument.oleObject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3.xml" ContentType="application/vnd.openxmlformats-officedocument.presentationml.notesSlide+xml"/>
  <Override PartName="/ppt/embeddings/oleObject23.bin" ContentType="application/vnd.openxmlformats-officedocument.oleObject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6.xml" ContentType="application/vnd.openxmlformats-officedocument.presentationml.notesSlide+xml"/>
  <Override PartName="/ppt/embeddings/oleObject24.bin" ContentType="application/vnd.openxmlformats-officedocument.oleObject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7.xml" ContentType="application/vnd.openxmlformats-officedocument.presentationml.notesSlide+xml"/>
  <Override PartName="/ppt/embeddings/oleObject25.bin" ContentType="application/vnd.openxmlformats-officedocument.oleObject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embeddings/oleObject26.bin" ContentType="application/vnd.openxmlformats-officedocument.oleObject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29.xml" ContentType="application/vnd.openxmlformats-officedocument.presentationml.notesSlide+xml"/>
  <Override PartName="/ppt/embeddings/oleObject27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25" r:id="rId1"/>
  </p:sldMasterIdLst>
  <p:notesMasterIdLst>
    <p:notesMasterId r:id="rId31"/>
  </p:notesMasterIdLst>
  <p:handoutMasterIdLst>
    <p:handoutMasterId r:id="rId32"/>
  </p:handoutMasterIdLst>
  <p:sldIdLst>
    <p:sldId id="697" r:id="rId2"/>
    <p:sldId id="745" r:id="rId3"/>
    <p:sldId id="756" r:id="rId4"/>
    <p:sldId id="777" r:id="rId5"/>
    <p:sldId id="780" r:id="rId6"/>
    <p:sldId id="781" r:id="rId7"/>
    <p:sldId id="783" r:id="rId8"/>
    <p:sldId id="759" r:id="rId9"/>
    <p:sldId id="807" r:id="rId10"/>
    <p:sldId id="785" r:id="rId11"/>
    <p:sldId id="796" r:id="rId12"/>
    <p:sldId id="786" r:id="rId13"/>
    <p:sldId id="788" r:id="rId14"/>
    <p:sldId id="802" r:id="rId15"/>
    <p:sldId id="791" r:id="rId16"/>
    <p:sldId id="803" r:id="rId17"/>
    <p:sldId id="798" r:id="rId18"/>
    <p:sldId id="799" r:id="rId19"/>
    <p:sldId id="800" r:id="rId20"/>
    <p:sldId id="801" r:id="rId21"/>
    <p:sldId id="789" r:id="rId22"/>
    <p:sldId id="793" r:id="rId23"/>
    <p:sldId id="794" r:id="rId24"/>
    <p:sldId id="795" r:id="rId25"/>
    <p:sldId id="754" r:id="rId26"/>
    <p:sldId id="804" r:id="rId27"/>
    <p:sldId id="805" r:id="rId28"/>
    <p:sldId id="806" r:id="rId29"/>
    <p:sldId id="808" r:id="rId30"/>
  </p:sldIdLst>
  <p:sldSz cx="9144000" cy="6858000" type="screen4x3"/>
  <p:notesSz cx="6797675" cy="9928225"/>
  <p:custDataLst>
    <p:tags r:id="rId3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F1A0D473-A5AD-644A-A0F6-77D89DB4F09A}">
          <p14:sldIdLst>
            <p14:sldId id="697"/>
            <p14:sldId id="745"/>
            <p14:sldId id="756"/>
            <p14:sldId id="777"/>
            <p14:sldId id="780"/>
            <p14:sldId id="781"/>
            <p14:sldId id="783"/>
            <p14:sldId id="759"/>
            <p14:sldId id="807"/>
            <p14:sldId id="785"/>
            <p14:sldId id="796"/>
            <p14:sldId id="786"/>
            <p14:sldId id="788"/>
            <p14:sldId id="802"/>
            <p14:sldId id="791"/>
            <p14:sldId id="803"/>
            <p14:sldId id="798"/>
            <p14:sldId id="799"/>
            <p14:sldId id="800"/>
            <p14:sldId id="801"/>
            <p14:sldId id="789"/>
            <p14:sldId id="793"/>
            <p14:sldId id="794"/>
            <p14:sldId id="795"/>
            <p14:sldId id="754"/>
          </p14:sldIdLst>
        </p14:section>
        <p14:section name="Backup" id="{C6E5893A-0CC3-FC43-B6E3-B0529972CCDF}">
          <p14:sldIdLst>
            <p14:sldId id="804"/>
            <p14:sldId id="805"/>
            <p14:sldId id="806"/>
            <p14:sldId id="80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385" userDrawn="1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5624">
          <p15:clr>
            <a:srgbClr val="A4A3A4"/>
          </p15:clr>
        </p15:guide>
        <p15:guide id="5" pos="158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69B5"/>
    <a:srgbClr val="41BEFF"/>
    <a:srgbClr val="CB6C1D"/>
    <a:srgbClr val="FFFF99"/>
    <a:srgbClr val="FFFF00"/>
    <a:srgbClr val="FCF0EA"/>
    <a:srgbClr val="91AC6B"/>
    <a:srgbClr val="FF8000"/>
    <a:srgbClr val="ECE8C2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38" autoAdjust="0"/>
    <p:restoredTop sz="91830" autoAdjust="0"/>
  </p:normalViewPr>
  <p:slideViewPr>
    <p:cSldViewPr>
      <p:cViewPr>
        <p:scale>
          <a:sx n="85" d="100"/>
          <a:sy n="85" d="100"/>
        </p:scale>
        <p:origin x="-1464" y="-120"/>
      </p:cViewPr>
      <p:guideLst>
        <p:guide orient="horz" pos="3385"/>
        <p:guide orient="horz" pos="618"/>
        <p:guide orient="horz" pos="4020"/>
        <p:guide pos="5624"/>
        <p:guide pos="158"/>
        <p:guide pos="2880"/>
      </p:guideLst>
    </p:cSldViewPr>
  </p:slideViewPr>
  <p:outlineViewPr>
    <p:cViewPr>
      <p:scale>
        <a:sx n="33" d="100"/>
        <a:sy n="33" d="100"/>
      </p:scale>
      <p:origin x="0" y="390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253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interSettings" Target="printerSettings/printerSettings1.bin"/><Relationship Id="rId34" Type="http://schemas.openxmlformats.org/officeDocument/2006/relationships/tags" Target="tags/tag1.xml"/><Relationship Id="rId35" Type="http://schemas.openxmlformats.org/officeDocument/2006/relationships/commentAuthors" Target="commentAuthors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viewProps" Target="viewProps.xml"/><Relationship Id="rId38" Type="http://schemas.openxmlformats.org/officeDocument/2006/relationships/theme" Target="theme/theme1.xml"/><Relationship Id="rId3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03239" y="184150"/>
            <a:ext cx="33480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54488" y="184150"/>
            <a:ext cx="21145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en-GB" smtClean="0">
                <a:latin typeface="Arial Unicode MS" pitchFamily="34" charset="-128"/>
              </a:rPr>
              <a:pPr>
                <a:defRPr/>
              </a:pPr>
              <a:t>‹#›</a:t>
            </a:fld>
            <a:endParaRPr lang="en-GB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5935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4"/>
            <a:ext cx="498475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Mastertext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897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6751A6-D9E4-4C75-A0D8-D3842DDC1436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93597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4430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44300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://wwwmatthes.in.tum.de" TargetMode="External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07" y="864066"/>
            <a:ext cx="9144508" cy="5993934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457199" y="2465917"/>
            <a:ext cx="8722802" cy="130223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>
              <a:latin typeface="+mn-lt"/>
            </a:endParaRPr>
          </a:p>
        </p:txBody>
      </p:sp>
      <p:sp>
        <p:nvSpPr>
          <p:cNvPr id="16" name="Textfeld 15">
            <a:hlinkClick r:id="rId3"/>
          </p:cNvPr>
          <p:cNvSpPr txBox="1"/>
          <p:nvPr userDrawn="1"/>
        </p:nvSpPr>
        <p:spPr>
          <a:xfrm>
            <a:off x="0" y="4821509"/>
            <a:ext cx="8133646" cy="13607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40000" tIns="140400" rIns="144000" bIns="140400" rtlCol="0">
            <a:spAutoFit/>
          </a:bodyPr>
          <a:lstStyle/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Software Engineering für betriebliche Informationssysteme (sebis) 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Fakultät für Informatik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Technische Universität München</a:t>
            </a:r>
          </a:p>
          <a:p>
            <a:pPr marL="180000"/>
            <a:endParaRPr lang="en-GB" sz="1400" b="0" i="0" noProof="1" smtClean="0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  <a:p>
            <a:pPr marL="180000"/>
            <a:r>
              <a:rPr lang="en-GB" sz="1400" b="0" i="0" u="none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  <a:hlinkClick r:id="rId3"/>
              </a:rPr>
              <a:t>wwwmatthes.in.tum.de</a:t>
            </a:r>
            <a:endParaRPr lang="en-GB" sz="1400" b="0" i="0" u="none" noProof="1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465387"/>
            <a:ext cx="8686800" cy="1302763"/>
          </a:xfrm>
          <a:prstGeom prst="rect">
            <a:avLst/>
          </a:prstGeom>
          <a:noFill/>
          <a:ln>
            <a:noFill/>
          </a:ln>
        </p:spPr>
        <p:txBody>
          <a:bodyPr anchor="b" anchorCtr="0">
            <a:normAutofit/>
          </a:bodyPr>
          <a:lstStyle>
            <a:lvl1pPr marL="180000" algn="l">
              <a:defRPr sz="3200" b="1" i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3766608"/>
            <a:ext cx="872280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lvl1pPr marL="180000" indent="0">
              <a:buFontTx/>
              <a:buNone/>
              <a:defRPr sz="18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Vortragender</a:t>
            </a:r>
            <a:r>
              <a:rPr lang="en-GB" noProof="0" dirty="0" smtClean="0"/>
              <a:t>&gt; &lt;Datum&gt; &lt;Ort&gt;</a:t>
            </a:r>
            <a:endParaRPr lang="en-GB" noProof="0" dirty="0"/>
          </a:p>
        </p:txBody>
      </p:sp>
      <p:pic>
        <p:nvPicPr>
          <p:cNvPr id="23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089"/>
          <a:stretch/>
        </p:blipFill>
        <p:spPr>
          <a:xfrm>
            <a:off x="1238868" y="349434"/>
            <a:ext cx="1830684" cy="362712"/>
          </a:xfrm>
          <a:prstGeom prst="rect">
            <a:avLst/>
          </a:prstGeom>
        </p:spPr>
      </p:pic>
      <p:pic>
        <p:nvPicPr>
          <p:cNvPr id="24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199" y="349434"/>
            <a:ext cx="680487" cy="362712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81212"/>
            <a:ext cx="7535885" cy="36053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41425"/>
            <a:ext cx="7561263" cy="395287"/>
          </a:xfrm>
        </p:spPr>
        <p:txBody>
          <a:bodyPr/>
          <a:lstStyle>
            <a:lvl1pPr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Unter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50827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8201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250827" y="981074"/>
            <a:ext cx="4246563" cy="661976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50827" y="1643049"/>
            <a:ext cx="4246563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981078"/>
            <a:ext cx="4248150" cy="661975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645025" y="1643049"/>
            <a:ext cx="4248150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/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11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0997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35085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37556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add core message of slid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36933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 noProof="0" dirty="0" smtClean="0"/>
              <a:t>Title (description of slide content), Arial 14 </a:t>
            </a:r>
            <a:r>
              <a:rPr lang="en-GB" noProof="0" dirty="0" err="1" smtClean="0"/>
              <a:t>pt</a:t>
            </a:r>
            <a:r>
              <a:rPr lang="en-GB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11213226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84006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0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 bwMode="auto">
          <a:xfrm>
            <a:off x="0" y="6569075"/>
            <a:ext cx="9143492" cy="28892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noProof="0" dirty="0" smtClean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-508" y="1586"/>
            <a:ext cx="9144000" cy="87271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noProof="0" dirty="0" smtClean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44450"/>
            <a:ext cx="753586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981075"/>
            <a:ext cx="8642350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37388" y="6570615"/>
            <a:ext cx="16065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43938" y="6570615"/>
            <a:ext cx="2492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971" y="436358"/>
            <a:ext cx="881203" cy="2825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66" r:id="rId4"/>
    <p:sldLayoutId id="2147483767" r:id="rId5"/>
    <p:sldLayoutId id="2147483780" r:id="rId6"/>
    <p:sldLayoutId id="2147483781" r:id="rId7"/>
    <p:sldLayoutId id="2147483782" r:id="rId8"/>
    <p:sldLayoutId id="2147483783" r:id="rId9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chemeClr val="bg1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0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9.xml"/></Relationships>
</file>

<file path=ppt/slides/_rels/slide1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3.png"/><Relationship Id="rId12" Type="http://schemas.openxmlformats.org/officeDocument/2006/relationships/image" Target="../media/image14.png"/><Relationship Id="rId1" Type="http://schemas.openxmlformats.org/officeDocument/2006/relationships/vmlDrawing" Target="../drawings/vmlDrawing11.v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1.xml"/><Relationship Id="rId6" Type="http://schemas.openxmlformats.org/officeDocument/2006/relationships/oleObject" Target="../embeddings/oleObject11.bin"/><Relationship Id="rId7" Type="http://schemas.openxmlformats.org/officeDocument/2006/relationships/image" Target="../media/image6.emf"/><Relationship Id="rId8" Type="http://schemas.openxmlformats.org/officeDocument/2006/relationships/image" Target="../media/image10.png"/><Relationship Id="rId9" Type="http://schemas.openxmlformats.org/officeDocument/2006/relationships/image" Target="../media/image11.png"/><Relationship Id="rId10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2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2.vml"/><Relationship Id="rId2" Type="http://schemas.openxmlformats.org/officeDocument/2006/relationships/tags" Target="../tags/tag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3.xml"/><Relationship Id="rId6" Type="http://schemas.openxmlformats.org/officeDocument/2006/relationships/oleObject" Target="../embeddings/oleObject13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3.vml"/><Relationship Id="rId2" Type="http://schemas.openxmlformats.org/officeDocument/2006/relationships/tags" Target="../tags/tag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4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6.emf"/><Relationship Id="rId8" Type="http://schemas.openxmlformats.org/officeDocument/2006/relationships/image" Target="../media/image15.png"/><Relationship Id="rId9" Type="http://schemas.openxmlformats.org/officeDocument/2006/relationships/image" Target="../media/image16.png"/><Relationship Id="rId10" Type="http://schemas.openxmlformats.org/officeDocument/2006/relationships/image" Target="../media/image17.png"/><Relationship Id="rId1" Type="http://schemas.openxmlformats.org/officeDocument/2006/relationships/vmlDrawing" Target="../drawings/vmlDrawing14.vml"/><Relationship Id="rId2" Type="http://schemas.openxmlformats.org/officeDocument/2006/relationships/tags" Target="../tags/tag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5.xml"/><Relationship Id="rId6" Type="http://schemas.openxmlformats.org/officeDocument/2006/relationships/oleObject" Target="../embeddings/oleObject15.bin"/><Relationship Id="rId7" Type="http://schemas.openxmlformats.org/officeDocument/2006/relationships/image" Target="../media/image6.emf"/><Relationship Id="rId8" Type="http://schemas.openxmlformats.org/officeDocument/2006/relationships/image" Target="../media/image18.png"/><Relationship Id="rId9" Type="http://schemas.openxmlformats.org/officeDocument/2006/relationships/image" Target="../media/image19.png"/><Relationship Id="rId10" Type="http://schemas.openxmlformats.org/officeDocument/2006/relationships/image" Target="../media/image20.png"/><Relationship Id="rId1" Type="http://schemas.openxmlformats.org/officeDocument/2006/relationships/vmlDrawing" Target="../drawings/vmlDrawing15.vml"/><Relationship Id="rId2" Type="http://schemas.openxmlformats.org/officeDocument/2006/relationships/tags" Target="../tags/tag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6.xml"/><Relationship Id="rId6" Type="http://schemas.openxmlformats.org/officeDocument/2006/relationships/oleObject" Target="../embeddings/oleObject16.bin"/><Relationship Id="rId7" Type="http://schemas.openxmlformats.org/officeDocument/2006/relationships/image" Target="../media/image6.emf"/><Relationship Id="rId8" Type="http://schemas.openxmlformats.org/officeDocument/2006/relationships/image" Target="../media/image21.png"/><Relationship Id="rId9" Type="http://schemas.openxmlformats.org/officeDocument/2006/relationships/image" Target="../media/image22.png"/><Relationship Id="rId1" Type="http://schemas.openxmlformats.org/officeDocument/2006/relationships/vmlDrawing" Target="../drawings/vmlDrawing16.vml"/><Relationship Id="rId2" Type="http://schemas.openxmlformats.org/officeDocument/2006/relationships/tags" Target="../tags/tag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7.xml"/><Relationship Id="rId6" Type="http://schemas.openxmlformats.org/officeDocument/2006/relationships/oleObject" Target="../embeddings/oleObject17.bin"/><Relationship Id="rId7" Type="http://schemas.openxmlformats.org/officeDocument/2006/relationships/image" Target="../media/image6.emf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" Type="http://schemas.openxmlformats.org/officeDocument/2006/relationships/vmlDrawing" Target="../drawings/vmlDrawing17.vml"/><Relationship Id="rId2" Type="http://schemas.openxmlformats.org/officeDocument/2006/relationships/tags" Target="../tags/tag3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8.xml"/><Relationship Id="rId6" Type="http://schemas.openxmlformats.org/officeDocument/2006/relationships/oleObject" Target="../embeddings/oleObject18.bin"/><Relationship Id="rId7" Type="http://schemas.openxmlformats.org/officeDocument/2006/relationships/image" Target="../media/image6.emf"/><Relationship Id="rId8" Type="http://schemas.openxmlformats.org/officeDocument/2006/relationships/image" Target="../media/image25.png"/><Relationship Id="rId9" Type="http://schemas.openxmlformats.org/officeDocument/2006/relationships/image" Target="../media/image26.png"/><Relationship Id="rId10" Type="http://schemas.openxmlformats.org/officeDocument/2006/relationships/image" Target="../media/image27.png"/><Relationship Id="rId11" Type="http://schemas.openxmlformats.org/officeDocument/2006/relationships/image" Target="../media/image28.png"/><Relationship Id="rId1" Type="http://schemas.openxmlformats.org/officeDocument/2006/relationships/vmlDrawing" Target="../drawings/vmlDrawing18.vml"/><Relationship Id="rId2" Type="http://schemas.openxmlformats.org/officeDocument/2006/relationships/tags" Target="../tags/tag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9.xml"/><Relationship Id="rId6" Type="http://schemas.openxmlformats.org/officeDocument/2006/relationships/oleObject" Target="../embeddings/oleObject19.bin"/><Relationship Id="rId7" Type="http://schemas.openxmlformats.org/officeDocument/2006/relationships/image" Target="../media/image6.emf"/><Relationship Id="rId8" Type="http://schemas.openxmlformats.org/officeDocument/2006/relationships/image" Target="../media/image29.png"/><Relationship Id="rId9" Type="http://schemas.openxmlformats.org/officeDocument/2006/relationships/image" Target="../media/image30.png"/><Relationship Id="rId1" Type="http://schemas.openxmlformats.org/officeDocument/2006/relationships/vmlDrawing" Target="../drawings/vmlDrawing19.vml"/><Relationship Id="rId2" Type="http://schemas.openxmlformats.org/officeDocument/2006/relationships/tags" Target="../tags/tag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2.xml"/><Relationship Id="rId6" Type="http://schemas.openxmlformats.org/officeDocument/2006/relationships/image" Target="../media/image7.png"/><Relationship Id="rId7" Type="http://schemas.openxmlformats.org/officeDocument/2006/relationships/image" Target="../media/image8.jpg"/><Relationship Id="rId8" Type="http://schemas.openxmlformats.org/officeDocument/2006/relationships/oleObject" Target="../embeddings/oleObject2.bin"/><Relationship Id="rId9" Type="http://schemas.openxmlformats.org/officeDocument/2006/relationships/image" Target="../media/image6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0.xml"/><Relationship Id="rId6" Type="http://schemas.openxmlformats.org/officeDocument/2006/relationships/oleObject" Target="../embeddings/oleObject20.bin"/><Relationship Id="rId7" Type="http://schemas.openxmlformats.org/officeDocument/2006/relationships/image" Target="../media/image6.emf"/><Relationship Id="rId8" Type="http://schemas.openxmlformats.org/officeDocument/2006/relationships/image" Target="../media/image31.png"/><Relationship Id="rId9" Type="http://schemas.openxmlformats.org/officeDocument/2006/relationships/image" Target="../media/image32.png"/><Relationship Id="rId1" Type="http://schemas.openxmlformats.org/officeDocument/2006/relationships/vmlDrawing" Target="../drawings/vmlDrawing20.vml"/><Relationship Id="rId2" Type="http://schemas.openxmlformats.org/officeDocument/2006/relationships/tags" Target="../tags/tag3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1.xml"/><Relationship Id="rId6" Type="http://schemas.openxmlformats.org/officeDocument/2006/relationships/oleObject" Target="../embeddings/oleObject21.bin"/><Relationship Id="rId7" Type="http://schemas.openxmlformats.org/officeDocument/2006/relationships/image" Target="../media/image6.emf"/><Relationship Id="rId8" Type="http://schemas.openxmlformats.org/officeDocument/2006/relationships/image" Target="../media/image33.png"/><Relationship Id="rId1" Type="http://schemas.openxmlformats.org/officeDocument/2006/relationships/vmlDrawing" Target="../drawings/vmlDrawing21.vml"/><Relationship Id="rId2" Type="http://schemas.openxmlformats.org/officeDocument/2006/relationships/tags" Target="../tags/tag4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2.xml"/><Relationship Id="rId6" Type="http://schemas.openxmlformats.org/officeDocument/2006/relationships/oleObject" Target="../embeddings/oleObject22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2.vml"/><Relationship Id="rId2" Type="http://schemas.openxmlformats.org/officeDocument/2006/relationships/tags" Target="../tags/tag4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3.xml"/><Relationship Id="rId6" Type="http://schemas.openxmlformats.org/officeDocument/2006/relationships/oleObject" Target="../embeddings/oleObject23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3.vml"/><Relationship Id="rId2" Type="http://schemas.openxmlformats.org/officeDocument/2006/relationships/tags" Target="../tags/tag4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11" Type="http://schemas.openxmlformats.org/officeDocument/2006/relationships/hyperlink" Target="http://www.objectmentor.com/resources/articles/srp.pdf" TargetMode="External"/><Relationship Id="rId12" Type="http://schemas.openxmlformats.org/officeDocument/2006/relationships/hyperlink" Target="http://deviq.com/single-responsibility-principle/" TargetMode="External"/><Relationship Id="rId13" Type="http://schemas.openxmlformats.org/officeDocument/2006/relationships/hyperlink" Target="https://www.tigerteam.dk/2014/micro-services-its-not-only-the-size-that-matters-its-also-how-you-use-them-part-1/" TargetMode="External"/><Relationship Id="rId1" Type="http://schemas.openxmlformats.org/officeDocument/2006/relationships/vmlDrawing" Target="../drawings/vmlDrawing24.v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6.xml"/><Relationship Id="rId6" Type="http://schemas.openxmlformats.org/officeDocument/2006/relationships/oleObject" Target="../embeddings/oleObject24.bin"/><Relationship Id="rId7" Type="http://schemas.openxmlformats.org/officeDocument/2006/relationships/image" Target="../media/image6.emf"/><Relationship Id="rId8" Type="http://schemas.openxmlformats.org/officeDocument/2006/relationships/hyperlink" Target="http://www.slideshare.net/adriancockcroft/microxchg-microservices" TargetMode="External"/><Relationship Id="rId9" Type="http://schemas.openxmlformats.org/officeDocument/2006/relationships/hyperlink" Target="http://programmer.97things.oreilly.com/wiki/index.php/The_Single_Responsibility_Principle" TargetMode="External"/><Relationship Id="rId10" Type="http://schemas.openxmlformats.org/officeDocument/2006/relationships/hyperlink" Target="http://www.mattstine.com/2014/06/30/microservices-are-solid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7.xml"/><Relationship Id="rId6" Type="http://schemas.openxmlformats.org/officeDocument/2006/relationships/oleObject" Target="../embeddings/oleObject25.bin"/><Relationship Id="rId7" Type="http://schemas.openxmlformats.org/officeDocument/2006/relationships/image" Target="../media/image6.emf"/><Relationship Id="rId8" Type="http://schemas.openxmlformats.org/officeDocument/2006/relationships/hyperlink" Target="http://www.infoq.com/news/2015/02/characteristics-microservices-ap" TargetMode="External"/><Relationship Id="rId1" Type="http://schemas.openxmlformats.org/officeDocument/2006/relationships/vmlDrawing" Target="../drawings/vmlDrawing25.vml"/><Relationship Id="rId2" Type="http://schemas.openxmlformats.org/officeDocument/2006/relationships/tags" Target="../tags/tag4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8.xml"/><Relationship Id="rId6" Type="http://schemas.openxmlformats.org/officeDocument/2006/relationships/oleObject" Target="../embeddings/oleObject26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6.vml"/><Relationship Id="rId2" Type="http://schemas.openxmlformats.org/officeDocument/2006/relationships/tags" Target="../tags/tag5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9.xml"/><Relationship Id="rId6" Type="http://schemas.openxmlformats.org/officeDocument/2006/relationships/oleObject" Target="../embeddings/oleObject27.bin"/><Relationship Id="rId7" Type="http://schemas.openxmlformats.org/officeDocument/2006/relationships/image" Target="../media/image6.emf"/><Relationship Id="rId8" Type="http://schemas.openxmlformats.org/officeDocument/2006/relationships/image" Target="../media/image35.png"/><Relationship Id="rId9" Type="http://schemas.openxmlformats.org/officeDocument/2006/relationships/image" Target="../media/image36.png"/><Relationship Id="rId1" Type="http://schemas.openxmlformats.org/officeDocument/2006/relationships/vmlDrawing" Target="../drawings/vmlDrawing27.vml"/><Relationship Id="rId2" Type="http://schemas.openxmlformats.org/officeDocument/2006/relationships/tags" Target="../tags/tag5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6.emf"/><Relationship Id="rId8" Type="http://schemas.openxmlformats.org/officeDocument/2006/relationships/image" Target="../media/image9.png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6.xml"/><Relationship Id="rId6" Type="http://schemas.openxmlformats.org/officeDocument/2006/relationships/oleObject" Target="../embeddings/oleObject6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6.vml"/><Relationship Id="rId2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7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2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8.xml"/><Relationship Id="rId6" Type="http://schemas.openxmlformats.org/officeDocument/2006/relationships/oleObject" Target="../embeddings/oleObject8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8.vml"/><Relationship Id="rId2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9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2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800" dirty="0" smtClean="0"/>
              <a:t>Designing a business platform using </a:t>
            </a:r>
            <a:r>
              <a:rPr lang="en-GB" sz="2800" dirty="0" err="1" smtClean="0"/>
              <a:t>Microservices</a:t>
            </a:r>
            <a:endParaRPr lang="en-GB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199" y="3766608"/>
            <a:ext cx="8722802" cy="369332"/>
          </a:xfrm>
        </p:spPr>
        <p:txBody>
          <a:bodyPr/>
          <a:lstStyle/>
          <a:p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, </a:t>
            </a:r>
            <a:r>
              <a:rPr lang="en-GB" dirty="0"/>
              <a:t>Master Thesis </a:t>
            </a:r>
            <a:r>
              <a:rPr lang="en-GB" dirty="0" smtClean="0"/>
              <a:t>- Initial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9131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68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0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earch Proces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2987824" y="3212976"/>
            <a:ext cx="1944216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Synthesize Data</a:t>
            </a:r>
          </a:p>
        </p:txBody>
      </p:sp>
      <p:sp>
        <p:nvSpPr>
          <p:cNvPr id="25" name="Rounded Rectangle 24"/>
          <p:cNvSpPr/>
          <p:nvPr/>
        </p:nvSpPr>
        <p:spPr bwMode="auto">
          <a:xfrm>
            <a:off x="323528" y="3284984"/>
            <a:ext cx="1800200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Create Draft</a:t>
            </a:r>
          </a:p>
        </p:txBody>
      </p:sp>
      <p:sp>
        <p:nvSpPr>
          <p:cNvPr id="28" name="Rounded Rectangle 27"/>
          <p:cNvSpPr/>
          <p:nvPr/>
        </p:nvSpPr>
        <p:spPr bwMode="auto">
          <a:xfrm>
            <a:off x="1331640" y="1484784"/>
            <a:ext cx="2232248" cy="108012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. Extract data from selected papers individually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220072" y="870968"/>
            <a:ext cx="3456384" cy="11079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/>
            <a:endParaRPr lang="en-US" sz="1100" dirty="0"/>
          </a:p>
          <a:p>
            <a:pPr lvl="0"/>
            <a:r>
              <a:rPr lang="en-US" sz="1100" b="1" u="sng" dirty="0" smtClean="0"/>
              <a:t>2. Data Synthesis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err="1" smtClean="0"/>
              <a:t>Comparision</a:t>
            </a:r>
            <a:r>
              <a:rPr lang="en-US" sz="1100" dirty="0" smtClean="0"/>
              <a:t> of the data achieved from papers 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err="1" smtClean="0"/>
              <a:t>Similaritiies</a:t>
            </a:r>
            <a:r>
              <a:rPr lang="en-US" sz="1100" dirty="0" smtClean="0"/>
              <a:t> and differences studied</a:t>
            </a:r>
          </a:p>
          <a:p>
            <a:endParaRPr lang="en-US" sz="1100" dirty="0" smtClean="0"/>
          </a:p>
          <a:p>
            <a:endParaRPr lang="en-US" sz="1100" dirty="0" smtClean="0">
              <a:latin typeface="Arial" pitchFamily="34" charset="0"/>
            </a:endParaRPr>
          </a:p>
        </p:txBody>
      </p:sp>
      <p:sp>
        <p:nvSpPr>
          <p:cNvPr id="34" name="Rechteck 17"/>
          <p:cNvSpPr/>
          <p:nvPr/>
        </p:nvSpPr>
        <p:spPr bwMode="auto">
          <a:xfrm>
            <a:off x="179512" y="1083140"/>
            <a:ext cx="4896544" cy="37860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Inhaltsplatzhalter 2"/>
          <p:cNvSpPr txBox="1">
            <a:spLocks/>
          </p:cNvSpPr>
          <p:nvPr/>
        </p:nvSpPr>
        <p:spPr bwMode="auto">
          <a:xfrm>
            <a:off x="179512" y="980728"/>
            <a:ext cx="489654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ata Synthesis Phas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2854525">
            <a:off x="3417397" y="2762703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9073944">
            <a:off x="990898" y="2815657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ight Arrow 40"/>
          <p:cNvSpPr/>
          <p:nvPr/>
        </p:nvSpPr>
        <p:spPr bwMode="auto">
          <a:xfrm rot="10800000">
            <a:off x="2195737" y="3649414"/>
            <a:ext cx="648072" cy="13962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28018" y="4365104"/>
            <a:ext cx="3366614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Data Synthesis Phase</a:t>
            </a:r>
          </a:p>
        </p:txBody>
      </p:sp>
      <p:sp>
        <p:nvSpPr>
          <p:cNvPr id="21" name="Titel 4"/>
          <p:cNvSpPr txBox="1">
            <a:spLocks/>
          </p:cNvSpPr>
          <p:nvPr/>
        </p:nvSpPr>
        <p:spPr bwMode="auto">
          <a:xfrm>
            <a:off x="403227" y="476177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Phase 2</a:t>
            </a:r>
            <a:endParaRPr lang="en-GB" dirty="0"/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5399943"/>
              </p:ext>
            </p:extLst>
          </p:nvPr>
        </p:nvGraphicFramePr>
        <p:xfrm>
          <a:off x="5364088" y="2276872"/>
          <a:ext cx="3240360" cy="191874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701189"/>
                <a:gridCol w="675075"/>
                <a:gridCol w="864096"/>
              </a:tblGrid>
              <a:tr h="30403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opi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oun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lected</a:t>
                      </a:r>
                      <a:endParaRPr lang="en-US" sz="1200" dirty="0"/>
                    </a:p>
                  </a:txBody>
                  <a:tcPr/>
                </a:tc>
              </a:tr>
              <a:tr h="30403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Granularit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9</a:t>
                      </a:r>
                      <a:endParaRPr lang="en-US" sz="1200" dirty="0"/>
                    </a:p>
                  </a:txBody>
                  <a:tcPr/>
                </a:tc>
              </a:tr>
              <a:tr h="29228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rvice Attribut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0</a:t>
                      </a:r>
                      <a:endParaRPr lang="en-US" sz="1200" dirty="0"/>
                    </a:p>
                  </a:txBody>
                  <a:tcPr/>
                </a:tc>
              </a:tr>
              <a:tr h="39260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rvice Identification</a:t>
                      </a:r>
                      <a:endParaRPr lang="en-US" sz="12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6</a:t>
                      </a:r>
                      <a:endParaRPr lang="en-US" sz="1200" dirty="0"/>
                    </a:p>
                  </a:txBody>
                  <a:tcPr/>
                </a:tc>
              </a:tr>
              <a:tr h="304034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Microservic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9</a:t>
                      </a:r>
                      <a:endParaRPr lang="en-US" sz="1200" dirty="0"/>
                    </a:p>
                  </a:txBody>
                  <a:tcPr/>
                </a:tc>
              </a:tr>
              <a:tr h="32175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omain Modelin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0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952860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7816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/>
              <a:t>S</a:t>
            </a:r>
            <a:r>
              <a:rPr lang="en-GB" sz="2000" dirty="0" smtClean="0"/>
              <a:t>ize of a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sp>
        <p:nvSpPr>
          <p:cNvPr id="111" name="Title 1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732240" y="980728"/>
            <a:ext cx="2232248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r"/>
            <a:r>
              <a:rPr lang="en-US" b="1" dirty="0" smtClean="0">
                <a:latin typeface="Arial" pitchFamily="34" charset="0"/>
              </a:rPr>
              <a:t>Articles Found: 9</a:t>
            </a:r>
          </a:p>
          <a:p>
            <a:pPr algn="r"/>
            <a:r>
              <a:rPr lang="en-US" b="1" dirty="0" smtClean="0">
                <a:latin typeface="Arial" pitchFamily="34" charset="0"/>
              </a:rPr>
              <a:t>Selected: 3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ranularity of a service is determined by the number of operations, type of parameters of operations and size of messages.</a:t>
            </a:r>
          </a:p>
        </p:txBody>
      </p:sp>
      <p:pic>
        <p:nvPicPr>
          <p:cNvPr id="22" name="Picture 21" descr="granularit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2276872"/>
            <a:ext cx="3098594" cy="648072"/>
          </a:xfrm>
          <a:prstGeom prst="rect">
            <a:avLst/>
          </a:prstGeom>
        </p:spPr>
      </p:pic>
      <p:pic>
        <p:nvPicPr>
          <p:cNvPr id="23" name="Picture 22" descr="granularit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2996952"/>
            <a:ext cx="2837504" cy="648072"/>
          </a:xfrm>
          <a:prstGeom prst="rect">
            <a:avLst/>
          </a:prstGeom>
        </p:spPr>
      </p:pic>
      <p:pic>
        <p:nvPicPr>
          <p:cNvPr id="24" name="Picture 23" descr="granularity_metrics_3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3933056"/>
            <a:ext cx="4105470" cy="792088"/>
          </a:xfrm>
          <a:prstGeom prst="rect">
            <a:avLst/>
          </a:prstGeom>
        </p:spPr>
      </p:pic>
      <p:pic>
        <p:nvPicPr>
          <p:cNvPr id="25" name="Picture 24" descr="granularity_metrics_4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196752"/>
            <a:ext cx="5585625" cy="2232248"/>
          </a:xfrm>
          <a:prstGeom prst="rect">
            <a:avLst/>
          </a:prstGeom>
        </p:spPr>
      </p:pic>
      <p:pic>
        <p:nvPicPr>
          <p:cNvPr id="28" name="Picture 27" descr="granularity_metrics_5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3356992"/>
            <a:ext cx="2165709" cy="792088"/>
          </a:xfrm>
          <a:prstGeom prst="rect">
            <a:avLst/>
          </a:prstGeom>
        </p:spPr>
      </p:pic>
      <p:cxnSp>
        <p:nvCxnSpPr>
          <p:cNvPr id="31" name="Straight Connector 30"/>
          <p:cNvCxnSpPr/>
          <p:nvPr/>
        </p:nvCxnSpPr>
        <p:spPr bwMode="auto">
          <a:xfrm>
            <a:off x="5652120" y="1988840"/>
            <a:ext cx="0" cy="180020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 bwMode="auto">
          <a:xfrm>
            <a:off x="4860032" y="3789040"/>
            <a:ext cx="165618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611560" y="4221089"/>
            <a:ext cx="3960440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200" b="1" dirty="0" smtClean="0">
                <a:latin typeface="Arial" pitchFamily="34" charset="0"/>
              </a:rPr>
              <a:t>ODG is Operation Data Granularity</a:t>
            </a:r>
          </a:p>
          <a:p>
            <a:pPr marL="171450" indent="-171450">
              <a:buFont typeface="Arial"/>
              <a:buChar char="•"/>
            </a:pPr>
            <a:r>
              <a:rPr lang="en-US" sz="1200" b="1" dirty="0" smtClean="0">
                <a:latin typeface="Arial" pitchFamily="34" charset="0"/>
              </a:rPr>
              <a:t>OFG is Operation Functionality Granularity</a:t>
            </a:r>
          </a:p>
        </p:txBody>
      </p:sp>
    </p:spTree>
    <p:extLst>
      <p:ext uri="{BB962C8B-B14F-4D97-AF65-F5344CB8AC3E}">
        <p14:creationId xmlns:p14="http://schemas.microsoft.com/office/powerpoint/2010/main" val="24219427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584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2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rrect Size of a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grpSp>
        <p:nvGrpSpPr>
          <p:cNvPr id="108" name="Gruppieren 16"/>
          <p:cNvGrpSpPr/>
          <p:nvPr/>
        </p:nvGrpSpPr>
        <p:grpSpPr>
          <a:xfrm>
            <a:off x="375623" y="980728"/>
            <a:ext cx="8228825" cy="2232248"/>
            <a:chOff x="508000" y="4177067"/>
            <a:chExt cx="8128000" cy="615717"/>
          </a:xfrm>
        </p:grpSpPr>
        <p:sp>
          <p:nvSpPr>
            <p:cNvPr id="10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Single Responsibility Principle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899592" y="1196752"/>
            <a:ext cx="655272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err="1"/>
              <a:t>Microservices</a:t>
            </a:r>
            <a:r>
              <a:rPr lang="en-US" sz="1400" dirty="0"/>
              <a:t> should be small and focused on doing one thing well [</a:t>
            </a:r>
            <a:r>
              <a:rPr lang="en-US" sz="1400" dirty="0" err="1"/>
              <a:t>S.Newman</a:t>
            </a:r>
            <a:r>
              <a:rPr lang="en-US" sz="1400" dirty="0"/>
              <a:t> and M. Stine</a:t>
            </a:r>
            <a:r>
              <a:rPr lang="en-US" sz="1400" dirty="0" smtClean="0"/>
              <a:t>]</a:t>
            </a:r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Gather </a:t>
            </a:r>
            <a:r>
              <a:rPr lang="en-US" sz="1400" dirty="0"/>
              <a:t>together those things that change for the same reason, and separate those things that change for different reasons.</a:t>
            </a:r>
            <a:r>
              <a:rPr lang="en-US" sz="1400" dirty="0" smtClean="0"/>
              <a:t>” [16]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Small enough to affect only small number of consumers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Single Responsibility Principle closely related to Coupling and Cohesion. [18, 19]</a:t>
            </a:r>
            <a:endParaRPr lang="en-US" sz="1400" dirty="0"/>
          </a:p>
          <a:p>
            <a:endParaRPr lang="en-US" dirty="0"/>
          </a:p>
        </p:txBody>
      </p:sp>
      <p:grpSp>
        <p:nvGrpSpPr>
          <p:cNvPr id="111" name="Gruppieren 16"/>
          <p:cNvGrpSpPr/>
          <p:nvPr/>
        </p:nvGrpSpPr>
        <p:grpSpPr>
          <a:xfrm>
            <a:off x="395536" y="3356995"/>
            <a:ext cx="8208912" cy="1512170"/>
            <a:chOff x="508000" y="4177067"/>
            <a:chExt cx="8128000" cy="562177"/>
          </a:xfrm>
        </p:grpSpPr>
        <p:sp>
          <p:nvSpPr>
            <p:cNvPr id="112" name="Rechteck 17"/>
            <p:cNvSpPr/>
            <p:nvPr/>
          </p:nvSpPr>
          <p:spPr bwMode="auto">
            <a:xfrm>
              <a:off x="508000" y="4256362"/>
              <a:ext cx="8128000" cy="48288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3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Autonomy [8, 20, 21, 22]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971600" y="3484165"/>
            <a:ext cx="684076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The </a:t>
            </a:r>
            <a:r>
              <a:rPr lang="en-US" sz="1400" dirty="0"/>
              <a:t>logic governed by a service resides within an explicit </a:t>
            </a:r>
            <a:r>
              <a:rPr lang="en-US" sz="1400" dirty="0" smtClean="0"/>
              <a:t>boundary” [24]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 The </a:t>
            </a:r>
            <a:r>
              <a:rPr lang="en-US" sz="1400" dirty="0"/>
              <a:t>service has control within this boundary and does </a:t>
            </a:r>
            <a:r>
              <a:rPr lang="en-US" sz="1400" dirty="0" smtClean="0"/>
              <a:t>not depend </a:t>
            </a:r>
            <a:r>
              <a:rPr lang="en-US" sz="1400" dirty="0"/>
              <a:t>on other services to execute its governance. </a:t>
            </a:r>
            <a:r>
              <a:rPr lang="en-US" sz="1400" dirty="0" smtClean="0"/>
              <a:t>It </a:t>
            </a:r>
            <a:r>
              <a:rPr lang="en-US" sz="1400" dirty="0"/>
              <a:t>also frees the service from </a:t>
            </a:r>
            <a:r>
              <a:rPr lang="en-US" sz="1400" dirty="0" smtClean="0"/>
              <a:t>ties that </a:t>
            </a:r>
            <a:r>
              <a:rPr lang="en-US" sz="1400" dirty="0"/>
              <a:t>could inhibit its deployment and </a:t>
            </a:r>
            <a:r>
              <a:rPr lang="en-US" sz="1400" dirty="0" smtClean="0"/>
              <a:t>evolution” [23]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Big enough to have control upon its business entities</a:t>
            </a:r>
            <a:endParaRPr lang="en-US" sz="1400" dirty="0"/>
          </a:p>
        </p:txBody>
      </p:sp>
      <p:grpSp>
        <p:nvGrpSpPr>
          <p:cNvPr id="114" name="Gruppieren 16"/>
          <p:cNvGrpSpPr/>
          <p:nvPr/>
        </p:nvGrpSpPr>
        <p:grpSpPr>
          <a:xfrm>
            <a:off x="395536" y="4941168"/>
            <a:ext cx="8208912" cy="1512168"/>
            <a:chOff x="508000" y="4177067"/>
            <a:chExt cx="8128000" cy="615717"/>
          </a:xfrm>
        </p:grpSpPr>
        <p:sp>
          <p:nvSpPr>
            <p:cNvPr id="115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6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4659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Technology Available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539552" y="5373216"/>
            <a:ext cx="78488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dirty="0"/>
              <a:t>The right value of granularity for an organization is highly influenced by its </a:t>
            </a:r>
            <a:r>
              <a:rPr lang="en-US" sz="1400" dirty="0" smtClean="0"/>
              <a:t>IT infrastructure</a:t>
            </a:r>
            <a:r>
              <a:rPr lang="en-US" sz="1400" dirty="0"/>
              <a:t>. The organization should be capable of handling the </a:t>
            </a:r>
            <a:r>
              <a:rPr lang="en-US" sz="1400" dirty="0" smtClean="0"/>
              <a:t>complexities such </a:t>
            </a:r>
            <a:r>
              <a:rPr lang="en-US" sz="1400" dirty="0"/>
              <a:t>as communication, runtime, infrastructure </a:t>
            </a:r>
            <a:r>
              <a:rPr lang="en-US" sz="1400" dirty="0" err="1" smtClean="0"/>
              <a:t>etc</a:t>
            </a:r>
            <a:r>
              <a:rPr lang="en-US" sz="1400" dirty="0" smtClean="0"/>
              <a:t> if they choose low granularity. [25, 26]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8610231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25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9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Quality Attributes for Services</a:t>
            </a:r>
            <a:endParaRPr lang="en-GB" sz="20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7908583"/>
              </p:ext>
            </p:extLst>
          </p:nvPr>
        </p:nvGraphicFramePr>
        <p:xfrm>
          <a:off x="1091952" y="1484784"/>
          <a:ext cx="6936432" cy="3235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0040"/>
                <a:gridCol w="2004392"/>
                <a:gridCol w="762000"/>
                <a:gridCol w="762000"/>
                <a:gridCol w="762000"/>
                <a:gridCol w="762000"/>
                <a:gridCol w="762000"/>
                <a:gridCol w="762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#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ferences/Attribut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3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7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5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4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8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9]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pl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he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utono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ranular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usabil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bstrac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mplex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49984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573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1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Quality attributes of a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upling</a:t>
            </a:r>
            <a:endParaRPr lang="en-GB" sz="2000" dirty="0"/>
          </a:p>
        </p:txBody>
      </p:sp>
      <p:pic>
        <p:nvPicPr>
          <p:cNvPr id="98" name="Picture 97" descr="coupling_metrics_2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1052736"/>
            <a:ext cx="4896544" cy="2440669"/>
          </a:xfrm>
          <a:prstGeom prst="rect">
            <a:avLst/>
          </a:prstGeom>
        </p:spPr>
      </p:pic>
      <p:grpSp>
        <p:nvGrpSpPr>
          <p:cNvPr id="102" name="Group 101"/>
          <p:cNvGrpSpPr/>
          <p:nvPr/>
        </p:nvGrpSpPr>
        <p:grpSpPr>
          <a:xfrm>
            <a:off x="2987824" y="3933056"/>
            <a:ext cx="3419872" cy="2448272"/>
            <a:chOff x="6732240" y="3501008"/>
            <a:chExt cx="6324600" cy="3571558"/>
          </a:xfrm>
        </p:grpSpPr>
        <p:pic>
          <p:nvPicPr>
            <p:cNvPr id="100" name="Picture 99" descr="coupling_metrics_4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48464" y="3501008"/>
              <a:ext cx="3581400" cy="812800"/>
            </a:xfrm>
            <a:prstGeom prst="rect">
              <a:avLst/>
            </a:prstGeom>
          </p:spPr>
        </p:pic>
        <p:pic>
          <p:nvPicPr>
            <p:cNvPr id="101" name="Picture 100" descr="coupling_metrics_5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2240" y="4354764"/>
              <a:ext cx="6324600" cy="2717802"/>
            </a:xfrm>
            <a:prstGeom prst="rect">
              <a:avLst/>
            </a:prstGeom>
          </p:spPr>
        </p:pic>
      </p:grpSp>
      <p:cxnSp>
        <p:nvCxnSpPr>
          <p:cNvPr id="9" name="Straight Connector 8"/>
          <p:cNvCxnSpPr/>
          <p:nvPr/>
        </p:nvCxnSpPr>
        <p:spPr bwMode="auto">
          <a:xfrm>
            <a:off x="2627784" y="3789040"/>
            <a:ext cx="4464496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62955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51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5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Quality attributes of a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upling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upling in a service increases with the number of service invocations, number </a:t>
            </a: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f dependent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rvices and size of messages used.</a:t>
            </a:r>
          </a:p>
        </p:txBody>
      </p:sp>
      <p:pic>
        <p:nvPicPr>
          <p:cNvPr id="97" name="Picture 96" descr="coupling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268760"/>
            <a:ext cx="4392488" cy="3672676"/>
          </a:xfrm>
          <a:prstGeom prst="rect">
            <a:avLst/>
          </a:prstGeom>
        </p:spPr>
      </p:pic>
      <p:grpSp>
        <p:nvGrpSpPr>
          <p:cNvPr id="105" name="Group 104"/>
          <p:cNvGrpSpPr/>
          <p:nvPr/>
        </p:nvGrpSpPr>
        <p:grpSpPr>
          <a:xfrm>
            <a:off x="4860032" y="1556792"/>
            <a:ext cx="3848136" cy="2736304"/>
            <a:chOff x="4108240" y="836712"/>
            <a:chExt cx="5067300" cy="3480668"/>
          </a:xfrm>
        </p:grpSpPr>
        <p:pic>
          <p:nvPicPr>
            <p:cNvPr id="103" name="Picture 102" descr="coupling_metrics_6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8240" y="836712"/>
              <a:ext cx="5067300" cy="1473200"/>
            </a:xfrm>
            <a:prstGeom prst="rect">
              <a:avLst/>
            </a:prstGeom>
          </p:spPr>
        </p:pic>
        <p:pic>
          <p:nvPicPr>
            <p:cNvPr id="104" name="Picture 103" descr="coupling_metrics_7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27984" y="2348880"/>
              <a:ext cx="4114800" cy="1968500"/>
            </a:xfrm>
            <a:prstGeom prst="rect">
              <a:avLst/>
            </a:prstGeom>
          </p:spPr>
        </p:pic>
      </p:grpSp>
      <p:cxnSp>
        <p:nvCxnSpPr>
          <p:cNvPr id="107" name="Straight Connector 106"/>
          <p:cNvCxnSpPr/>
          <p:nvPr/>
        </p:nvCxnSpPr>
        <p:spPr bwMode="auto">
          <a:xfrm>
            <a:off x="4716016" y="1628800"/>
            <a:ext cx="0" cy="302433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579325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304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3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hesion</a:t>
            </a:r>
            <a:endParaRPr lang="en-GB" sz="2000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204467" y="81212"/>
            <a:ext cx="7535885" cy="360535"/>
          </a:xfrm>
        </p:spPr>
        <p:txBody>
          <a:bodyPr/>
          <a:lstStyle/>
          <a:p>
            <a:r>
              <a:rPr lang="en-GB" sz="2000" dirty="0"/>
              <a:t>Quality </a:t>
            </a:r>
            <a:r>
              <a:rPr lang="en-GB" sz="2000" dirty="0" smtClean="0"/>
              <a:t>attributes </a:t>
            </a:r>
            <a:r>
              <a:rPr lang="en-GB" sz="2000" dirty="0"/>
              <a:t>of a </a:t>
            </a:r>
            <a:r>
              <a:rPr lang="en-GB" sz="2000" dirty="0" err="1"/>
              <a:t>microservice</a:t>
            </a:r>
            <a:endParaRPr lang="en-US" sz="2000" dirty="0"/>
          </a:p>
        </p:txBody>
      </p:sp>
      <p:pic>
        <p:nvPicPr>
          <p:cNvPr id="28" name="Picture 27" descr="cohesion_metrics_5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3789040"/>
            <a:ext cx="4824536" cy="2298482"/>
          </a:xfrm>
          <a:prstGeom prst="rect">
            <a:avLst/>
          </a:prstGeom>
        </p:spPr>
      </p:pic>
      <p:pic>
        <p:nvPicPr>
          <p:cNvPr id="2" name="Picture 1" descr="cohesion_metrics_3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1052736"/>
            <a:ext cx="5782052" cy="2697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92979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7027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hesion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486916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hesion is given by the number of operations sharing same messages, parameters</a:t>
            </a: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nd consumer.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204467" y="81212"/>
            <a:ext cx="7535885" cy="360535"/>
          </a:xfrm>
        </p:spPr>
        <p:txBody>
          <a:bodyPr/>
          <a:lstStyle/>
          <a:p>
            <a:r>
              <a:rPr lang="en-GB" sz="2000" dirty="0"/>
              <a:t>Quality </a:t>
            </a:r>
            <a:r>
              <a:rPr lang="en-GB" sz="2000" dirty="0" smtClean="0"/>
              <a:t>attributes </a:t>
            </a:r>
            <a:r>
              <a:rPr lang="en-GB" sz="2000" dirty="0"/>
              <a:t>of a </a:t>
            </a:r>
            <a:r>
              <a:rPr lang="en-GB" sz="2000" dirty="0" err="1"/>
              <a:t>microservice</a:t>
            </a:r>
            <a:endParaRPr lang="en-US" sz="2000" dirty="0"/>
          </a:p>
        </p:txBody>
      </p:sp>
      <p:grpSp>
        <p:nvGrpSpPr>
          <p:cNvPr id="29" name="Group 28"/>
          <p:cNvGrpSpPr/>
          <p:nvPr/>
        </p:nvGrpSpPr>
        <p:grpSpPr>
          <a:xfrm>
            <a:off x="1691680" y="1412776"/>
            <a:ext cx="6120680" cy="2880320"/>
            <a:chOff x="179512" y="1006996"/>
            <a:chExt cx="8352408" cy="2848992"/>
          </a:xfrm>
        </p:grpSpPr>
        <p:pic>
          <p:nvPicPr>
            <p:cNvPr id="23" name="Picture 22" descr="cohesion_metrics_1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512" y="1006996"/>
              <a:ext cx="5410200" cy="1485900"/>
            </a:xfrm>
            <a:prstGeom prst="rect">
              <a:avLst/>
            </a:prstGeom>
          </p:spPr>
        </p:pic>
        <p:pic>
          <p:nvPicPr>
            <p:cNvPr id="24" name="Picture 23" descr="cohesion_metrics_2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520" y="2420888"/>
              <a:ext cx="8280400" cy="14351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389805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979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mplexity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013176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plexity of the service increases with granularity and coupling.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Quality attributes of a </a:t>
            </a:r>
            <a:r>
              <a:rPr lang="en-US" sz="2000" dirty="0" err="1" smtClean="0"/>
              <a:t>microservice</a:t>
            </a:r>
            <a:endParaRPr lang="en-US" sz="2000" dirty="0"/>
          </a:p>
        </p:txBody>
      </p:sp>
      <p:grpSp>
        <p:nvGrpSpPr>
          <p:cNvPr id="18" name="Group 17"/>
          <p:cNvGrpSpPr/>
          <p:nvPr/>
        </p:nvGrpSpPr>
        <p:grpSpPr>
          <a:xfrm>
            <a:off x="35496" y="2132856"/>
            <a:ext cx="4608512" cy="2016224"/>
            <a:chOff x="179512" y="2014984"/>
            <a:chExt cx="6002908" cy="2103884"/>
          </a:xfrm>
        </p:grpSpPr>
        <p:pic>
          <p:nvPicPr>
            <p:cNvPr id="12" name="Picture 11" descr="complexity_metrics_1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512" y="2014984"/>
              <a:ext cx="4699000" cy="1270000"/>
            </a:xfrm>
            <a:prstGeom prst="rect">
              <a:avLst/>
            </a:prstGeom>
          </p:spPr>
        </p:pic>
        <p:pic>
          <p:nvPicPr>
            <p:cNvPr id="13" name="Picture 12" descr="complexity_metrics_2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520" y="3140968"/>
              <a:ext cx="5930900" cy="977900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4499992" y="2060848"/>
            <a:ext cx="4634039" cy="2088232"/>
            <a:chOff x="2843808" y="2852936"/>
            <a:chExt cx="5613400" cy="2367260"/>
          </a:xfrm>
        </p:grpSpPr>
        <p:pic>
          <p:nvPicPr>
            <p:cNvPr id="15" name="Picture 14" descr="complexity_metrics_3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5856" y="2852936"/>
              <a:ext cx="4165600" cy="1460500"/>
            </a:xfrm>
            <a:prstGeom prst="rect">
              <a:avLst/>
            </a:prstGeom>
          </p:spPr>
        </p:pic>
        <p:pic>
          <p:nvPicPr>
            <p:cNvPr id="17" name="Picture 16" descr="complexity_metrics_4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3808" y="4293096"/>
              <a:ext cx="5613400" cy="927100"/>
            </a:xfrm>
            <a:prstGeom prst="rect">
              <a:avLst/>
            </a:prstGeom>
          </p:spPr>
        </p:pic>
      </p:grpSp>
      <p:cxnSp>
        <p:nvCxnSpPr>
          <p:cNvPr id="24" name="Straight Connector 23"/>
          <p:cNvCxnSpPr/>
          <p:nvPr/>
        </p:nvCxnSpPr>
        <p:spPr bwMode="auto">
          <a:xfrm>
            <a:off x="4427984" y="2924944"/>
            <a:ext cx="0" cy="151216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871401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43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Autonomy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tonomy of a service increases with degree of control on its business entities and decreases with dependencies.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Quality attributes of a </a:t>
            </a:r>
            <a:r>
              <a:rPr lang="en-US" sz="2000" dirty="0" err="1" smtClean="0"/>
              <a:t>microservice</a:t>
            </a:r>
            <a:endParaRPr lang="en-US" sz="2000" dirty="0"/>
          </a:p>
        </p:txBody>
      </p:sp>
      <p:pic>
        <p:nvPicPr>
          <p:cNvPr id="6" name="Picture 5" descr="autonom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980728"/>
            <a:ext cx="5289460" cy="2142356"/>
          </a:xfrm>
          <a:prstGeom prst="rect">
            <a:avLst/>
          </a:prstGeom>
        </p:spPr>
      </p:pic>
      <p:pic>
        <p:nvPicPr>
          <p:cNvPr id="2" name="Picture 1" descr="autonom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3103088"/>
            <a:ext cx="6624736" cy="1952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4828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ebis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2111202"/>
            <a:ext cx="2002284" cy="1503938"/>
          </a:xfrm>
          <a:prstGeom prst="rect">
            <a:avLst/>
          </a:prstGeom>
        </p:spPr>
      </p:pic>
      <p:pic>
        <p:nvPicPr>
          <p:cNvPr id="6" name="Picture 5" descr="hybris-review-logo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2535020"/>
            <a:ext cx="1888523" cy="715278"/>
          </a:xfrm>
          <a:prstGeom prst="rect">
            <a:avLst/>
          </a:prstGeom>
        </p:spPr>
      </p:pic>
      <p:graphicFrame>
        <p:nvGraphicFramePr>
          <p:cNvPr id="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221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00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25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- Master Thesis 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548005" y="5803917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2" name="Circular Arrow 21"/>
          <p:cNvSpPr/>
          <p:nvPr/>
        </p:nvSpPr>
        <p:spPr bwMode="auto">
          <a:xfrm rot="19314264" flipH="1">
            <a:off x="4123578" y="2422761"/>
            <a:ext cx="2364596" cy="2774682"/>
          </a:xfrm>
          <a:prstGeom prst="circularArrow">
            <a:avLst>
              <a:gd name="adj1" fmla="val 12430"/>
              <a:gd name="adj2" fmla="val 598434"/>
              <a:gd name="adj3" fmla="val 18791429"/>
              <a:gd name="adj4" fmla="val 14135141"/>
              <a:gd name="adj5" fmla="val 1454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Circular Arrow 22"/>
          <p:cNvSpPr/>
          <p:nvPr/>
        </p:nvSpPr>
        <p:spPr bwMode="auto">
          <a:xfrm rot="12887782" flipH="1" flipV="1">
            <a:off x="2459965" y="2441882"/>
            <a:ext cx="2198411" cy="2754149"/>
          </a:xfrm>
          <a:prstGeom prst="circularArrow">
            <a:avLst>
              <a:gd name="adj1" fmla="val 12430"/>
              <a:gd name="adj2" fmla="val 598434"/>
              <a:gd name="adj3" fmla="val 18791429"/>
              <a:gd name="adj4" fmla="val 14135141"/>
              <a:gd name="adj5" fmla="val 14546"/>
            </a:avLst>
          </a:prstGeom>
          <a:solidFill>
            <a:srgbClr val="1669B5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827584" y="3380799"/>
            <a:ext cx="3024336" cy="1569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</a:rPr>
              <a:t>Prof. Dr. Florian </a:t>
            </a:r>
            <a:r>
              <a:rPr lang="en-US" dirty="0" err="1" smtClean="0">
                <a:latin typeface="Arial" pitchFamily="34" charset="0"/>
              </a:rPr>
              <a:t>Matthes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[Supervisor]</a:t>
            </a:r>
          </a:p>
          <a:p>
            <a:r>
              <a:rPr lang="en-US" dirty="0" err="1" smtClean="0">
                <a:latin typeface="Arial" pitchFamily="34" charset="0"/>
              </a:rPr>
              <a:t>Manoj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dirty="0" err="1" smtClean="0">
                <a:latin typeface="Arial" pitchFamily="34" charset="0"/>
              </a:rPr>
              <a:t>Mahabaleshwar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[Advisor]</a:t>
            </a:r>
            <a:endParaRPr lang="en-US" sz="1200" dirty="0">
              <a:latin typeface="Arial" pitchFamily="34" charset="0"/>
            </a:endParaRPr>
          </a:p>
          <a:p>
            <a:endParaRPr lang="en-US" dirty="0" smtClean="0">
              <a:latin typeface="Arial" pitchFamily="34" charset="0"/>
            </a:endParaRP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796136" y="3429000"/>
            <a:ext cx="1737575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Andrea </a:t>
            </a:r>
            <a:r>
              <a:rPr lang="en-US" dirty="0" err="1" smtClean="0">
                <a:latin typeface="Arial" pitchFamily="34" charset="0"/>
              </a:rPr>
              <a:t>Stubbe</a:t>
            </a:r>
            <a:endParaRPr lang="en-US" dirty="0" smtClean="0">
              <a:latin typeface="Arial" pitchFamily="34" charset="0"/>
            </a:endParaRPr>
          </a:p>
          <a:p>
            <a:r>
              <a:rPr lang="en-US" sz="1200" dirty="0" smtClean="0">
                <a:latin typeface="Arial" pitchFamily="34" charset="0"/>
              </a:rPr>
              <a:t>[Advisor]</a:t>
            </a:r>
          </a:p>
        </p:txBody>
      </p:sp>
    </p:spTree>
    <p:extLst>
      <p:ext uri="{BB962C8B-B14F-4D97-AF65-F5344CB8AC3E}">
        <p14:creationId xmlns:p14="http://schemas.microsoft.com/office/powerpoint/2010/main" val="238483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220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Reusability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usability increases with cohesion and consumers but decreases with granularity and coupling.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Quality attributes of a </a:t>
            </a:r>
            <a:r>
              <a:rPr lang="en-US" sz="2000" dirty="0" err="1" smtClean="0"/>
              <a:t>microservice</a:t>
            </a:r>
            <a:endParaRPr lang="en-US" sz="2000" dirty="0"/>
          </a:p>
        </p:txBody>
      </p:sp>
      <p:pic>
        <p:nvPicPr>
          <p:cNvPr id="7" name="Picture 6" descr="reusabilit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1628800"/>
            <a:ext cx="4546600" cy="914400"/>
          </a:xfrm>
          <a:prstGeom prst="rect">
            <a:avLst/>
          </a:prstGeom>
        </p:spPr>
      </p:pic>
      <p:pic>
        <p:nvPicPr>
          <p:cNvPr id="8" name="Picture 7" descr="reusabilit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3501008"/>
            <a:ext cx="6400800" cy="660400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 bwMode="auto">
          <a:xfrm>
            <a:off x="3779912" y="3068960"/>
            <a:ext cx="165618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43585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117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1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Basic Quality Metrics for Services</a:t>
            </a:r>
            <a:endParaRPr lang="en-GB" sz="20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 descr="services_basic_quality_metrics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937344"/>
            <a:ext cx="8686800" cy="55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06136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224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0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23528" y="81212"/>
            <a:ext cx="7535885" cy="360535"/>
          </a:xfrm>
        </p:spPr>
        <p:txBody>
          <a:bodyPr/>
          <a:lstStyle/>
          <a:p>
            <a:r>
              <a:rPr lang="en-GB" sz="2000" dirty="0" smtClean="0"/>
              <a:t>Current Status and Summary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7360038"/>
              </p:ext>
            </p:extLst>
          </p:nvPr>
        </p:nvGraphicFramePr>
        <p:xfrm>
          <a:off x="1691680" y="1549662"/>
          <a:ext cx="5904656" cy="3497361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016224"/>
                <a:gridCol w="3888432"/>
              </a:tblGrid>
              <a:tr h="340842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search Ques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ummary</a:t>
                      </a:r>
                      <a:endParaRPr lang="en-US" sz="1200" dirty="0"/>
                    </a:p>
                  </a:txBody>
                  <a:tcPr/>
                </a:tc>
              </a:tr>
              <a:tr h="77907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How can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size of a </a:t>
                      </a:r>
                      <a:r>
                        <a:rPr lang="en-GB" sz="1200" b="1" dirty="0" err="1" smtClean="0">
                          <a:solidFill>
                            <a:schemeClr val="tx1"/>
                          </a:solidFill>
                        </a:rPr>
                        <a:t>microservice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be defined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factors determining siz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Principles</a:t>
                      </a:r>
                      <a:r>
                        <a:rPr lang="en-US" sz="1200" baseline="0" dirty="0" smtClean="0"/>
                        <a:t> defining a correct size of service listed</a:t>
                      </a:r>
                      <a:endParaRPr lang="en-US" sz="1200" dirty="0"/>
                    </a:p>
                  </a:txBody>
                  <a:tcPr/>
                </a:tc>
              </a:tr>
              <a:tr h="1125336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200" b="1" dirty="0" smtClean="0">
                          <a:latin typeface="Arial" pitchFamily="34" charset="0"/>
                        </a:rPr>
                        <a:t>What makes any service a good candidate for being  a </a:t>
                      </a:r>
                      <a:r>
                        <a:rPr lang="en-US" sz="1200" b="1" dirty="0" err="1" smtClean="0">
                          <a:latin typeface="Arial" pitchFamily="34" charset="0"/>
                        </a:rPr>
                        <a:t>microservice</a:t>
                      </a:r>
                      <a:r>
                        <a:rPr lang="en-US" sz="1200" b="1" dirty="0" smtClean="0">
                          <a:latin typeface="Arial" pitchFamily="34" charset="0"/>
                        </a:rPr>
                        <a:t>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200" baseline="0" dirty="0" smtClean="0"/>
                        <a:t>Factors influencing the size defined</a:t>
                      </a:r>
                      <a:endParaRPr lang="en-US" sz="1200" dirty="0" smtClean="0"/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attributes</a:t>
                      </a:r>
                      <a:r>
                        <a:rPr lang="en-US" sz="1200" baseline="0" dirty="0" smtClean="0"/>
                        <a:t> to determine a good servic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Metrics to calculate the attribute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Interpretation of all metrics from papers into a set of basic metric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Principles defined for a good service based on quality attributes</a:t>
                      </a:r>
                      <a:endParaRPr lang="en-US" sz="1200" dirty="0"/>
                    </a:p>
                  </a:txBody>
                  <a:tcPr/>
                </a:tc>
              </a:tr>
              <a:tr h="7790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latin typeface="Arial" pitchFamily="34" charset="0"/>
                        </a:rPr>
                        <a:t>What are the techniques defined to create</a:t>
                      </a:r>
                      <a:r>
                        <a:rPr lang="en-US" sz="1200" b="1" baseline="0" dirty="0" smtClean="0">
                          <a:latin typeface="Arial" pitchFamily="34" charset="0"/>
                        </a:rPr>
                        <a:t> </a:t>
                      </a:r>
                      <a:r>
                        <a:rPr lang="en-US" sz="1200" b="1" baseline="0" dirty="0" err="1" smtClean="0">
                          <a:latin typeface="Arial" pitchFamily="34" charset="0"/>
                        </a:rPr>
                        <a:t>microservice</a:t>
                      </a:r>
                      <a:r>
                        <a:rPr lang="en-US" sz="1200" b="1" baseline="0" dirty="0" smtClean="0">
                          <a:latin typeface="Arial" pitchFamily="34" charset="0"/>
                        </a:rPr>
                        <a:t> architecture?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Use</a:t>
                      </a:r>
                      <a:r>
                        <a:rPr lang="en-US" sz="1200" baseline="0" dirty="0" smtClean="0"/>
                        <a:t> case modeling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Domain Driven Design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Rechteck 17"/>
          <p:cNvSpPr/>
          <p:nvPr/>
        </p:nvSpPr>
        <p:spPr bwMode="auto">
          <a:xfrm>
            <a:off x="323528" y="1124744"/>
            <a:ext cx="8640960" cy="46805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0758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/>
        </p:nvGrpSpPr>
        <p:grpSpPr>
          <a:xfrm>
            <a:off x="251520" y="980728"/>
            <a:ext cx="8568952" cy="4032448"/>
            <a:chOff x="251520" y="980728"/>
            <a:chExt cx="8568952" cy="4032448"/>
          </a:xfrm>
        </p:grpSpPr>
        <p:sp>
          <p:nvSpPr>
            <p:cNvPr id="56" name="Rectangle 55"/>
            <p:cNvSpPr/>
            <p:nvPr/>
          </p:nvSpPr>
          <p:spPr bwMode="auto">
            <a:xfrm>
              <a:off x="251520" y="980728"/>
              <a:ext cx="1440160" cy="4032448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Rectangle 56"/>
            <p:cNvSpPr/>
            <p:nvPr/>
          </p:nvSpPr>
          <p:spPr bwMode="auto">
            <a:xfrm>
              <a:off x="2987824" y="980728"/>
              <a:ext cx="1584176" cy="4032448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1619672" y="980728"/>
              <a:ext cx="1440160" cy="403244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 bwMode="auto">
            <a:xfrm>
              <a:off x="5868144" y="980728"/>
              <a:ext cx="1512168" cy="4032448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 bwMode="auto">
            <a:xfrm>
              <a:off x="4499992" y="980728"/>
              <a:ext cx="1440160" cy="403244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 bwMode="auto">
            <a:xfrm>
              <a:off x="7380312" y="980728"/>
              <a:ext cx="1440160" cy="403244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349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2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What next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251520" y="908720"/>
            <a:ext cx="8640960" cy="5328592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339752" y="3306472"/>
            <a:ext cx="2160241" cy="1682897"/>
            <a:chOff x="539552" y="1189897"/>
            <a:chExt cx="3600400" cy="1522621"/>
          </a:xfrm>
        </p:grpSpPr>
        <p:grpSp>
          <p:nvGrpSpPr>
            <p:cNvPr id="15" name="Gruppieren 16"/>
            <p:cNvGrpSpPr/>
            <p:nvPr/>
          </p:nvGrpSpPr>
          <p:grpSpPr>
            <a:xfrm>
              <a:off x="539552" y="1189897"/>
              <a:ext cx="3600400" cy="1303002"/>
              <a:chOff x="508000" y="4206387"/>
              <a:chExt cx="8128000" cy="586397"/>
            </a:xfrm>
          </p:grpSpPr>
          <p:sp>
            <p:nvSpPr>
              <p:cNvPr id="16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7" name="Inhaltsplatzhalter 2"/>
              <p:cNvSpPr txBox="1">
                <a:spLocks/>
              </p:cNvSpPr>
              <p:nvPr/>
            </p:nvSpPr>
            <p:spPr bwMode="auto">
              <a:xfrm>
                <a:off x="508000" y="4206387"/>
                <a:ext cx="6095994" cy="11727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sp>
          <p:nvSpPr>
            <p:cNvPr id="8" name="TextBox 7"/>
            <p:cNvSpPr txBox="1"/>
            <p:nvPr/>
          </p:nvSpPr>
          <p:spPr>
            <a:xfrm>
              <a:off x="539552" y="1626506"/>
              <a:ext cx="3434780" cy="10860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solidFill>
                    <a:schemeClr val="tx1"/>
                  </a:solidFill>
                  <a:latin typeface="Arial" pitchFamily="34" charset="0"/>
                </a:rPr>
                <a:t>Techniques discussed in scientific literature to define </a:t>
              </a:r>
              <a:r>
                <a:rPr lang="en-US" sz="1200" b="1" dirty="0" err="1" smtClean="0">
                  <a:solidFill>
                    <a:schemeClr val="tx1"/>
                  </a:solidFill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solidFill>
                    <a:schemeClr val="tx1"/>
                  </a:solidFill>
                  <a:latin typeface="Arial" pitchFamily="34" charset="0"/>
                </a:rPr>
                <a:t> 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707904" y="1484784"/>
            <a:ext cx="2232248" cy="1296144"/>
            <a:chOff x="5530316" y="1700808"/>
            <a:chExt cx="3629514" cy="1368152"/>
          </a:xfrm>
        </p:grpSpPr>
        <p:grpSp>
          <p:nvGrpSpPr>
            <p:cNvPr id="26" name="Gruppieren 16"/>
            <p:cNvGrpSpPr/>
            <p:nvPr/>
          </p:nvGrpSpPr>
          <p:grpSpPr>
            <a:xfrm>
              <a:off x="5530316" y="1700808"/>
              <a:ext cx="3600400" cy="1368152"/>
              <a:chOff x="508000" y="4177067"/>
              <a:chExt cx="8128000" cy="615717"/>
            </a:xfrm>
          </p:grpSpPr>
          <p:sp>
            <p:nvSpPr>
              <p:cNvPr id="27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8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7101224" cy="15392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5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TextBox 28"/>
            <p:cNvSpPr txBox="1"/>
            <p:nvPr/>
          </p:nvSpPr>
          <p:spPr>
            <a:xfrm>
              <a:off x="5643738" y="2204864"/>
              <a:ext cx="3516092" cy="4873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Techniques used in </a:t>
              </a:r>
              <a:r>
                <a:rPr lang="en-US" sz="1200" b="1" dirty="0" err="1" smtClean="0">
                  <a:latin typeface="Arial" pitchFamily="34" charset="0"/>
                </a:rPr>
                <a:t>Hybris</a:t>
              </a:r>
              <a:endParaRPr lang="en-US" sz="1200" b="1" dirty="0" smtClean="0">
                <a:latin typeface="Arial" pitchFamily="34" charset="0"/>
              </a:endParaRPr>
            </a:p>
            <a:p>
              <a:r>
                <a:rPr lang="en-US" sz="1200" b="1" dirty="0" smtClean="0">
                  <a:latin typeface="Arial" pitchFamily="34" charset="0"/>
                </a:rPr>
                <a:t>to define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292080" y="3212976"/>
            <a:ext cx="2088232" cy="1368152"/>
            <a:chOff x="1547664" y="2924944"/>
            <a:chExt cx="3600400" cy="1368152"/>
          </a:xfrm>
        </p:grpSpPr>
        <p:grpSp>
          <p:nvGrpSpPr>
            <p:cNvPr id="20" name="Gruppieren 16"/>
            <p:cNvGrpSpPr/>
            <p:nvPr/>
          </p:nvGrpSpPr>
          <p:grpSpPr>
            <a:xfrm>
              <a:off x="1547664" y="2924944"/>
              <a:ext cx="3600400" cy="1368152"/>
              <a:chOff x="508000" y="4177067"/>
              <a:chExt cx="8128000" cy="615717"/>
            </a:xfrm>
          </p:grpSpPr>
          <p:sp>
            <p:nvSpPr>
              <p:cNvPr id="21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2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096000" cy="16203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6</a:t>
                </a:r>
              </a:p>
            </p:txBody>
          </p:sp>
        </p:grpSp>
        <p:sp>
          <p:nvSpPr>
            <p:cNvPr id="30" name="TextBox 29"/>
            <p:cNvSpPr txBox="1"/>
            <p:nvPr/>
          </p:nvSpPr>
          <p:spPr>
            <a:xfrm>
              <a:off x="1619672" y="3429000"/>
              <a:ext cx="3456383" cy="830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Challenges for maintaining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architecture 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6588224" y="1412776"/>
            <a:ext cx="1512168" cy="1512168"/>
            <a:chOff x="5724128" y="3356992"/>
            <a:chExt cx="3816423" cy="1368152"/>
          </a:xfrm>
        </p:grpSpPr>
        <p:grpSp>
          <p:nvGrpSpPr>
            <p:cNvPr id="23" name="Gruppieren 16"/>
            <p:cNvGrpSpPr/>
            <p:nvPr/>
          </p:nvGrpSpPr>
          <p:grpSpPr>
            <a:xfrm>
              <a:off x="5724128" y="3356992"/>
              <a:ext cx="3600400" cy="1368152"/>
              <a:chOff x="508000" y="4177067"/>
              <a:chExt cx="8128000" cy="615717"/>
            </a:xfrm>
          </p:grpSpPr>
          <p:sp>
            <p:nvSpPr>
              <p:cNvPr id="24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5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154055" cy="146599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7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5724128" y="3862789"/>
              <a:ext cx="3816423" cy="4176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Guidelines to define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architecture</a:t>
              </a: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987824" y="5096217"/>
            <a:ext cx="1062986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Nov.15.2015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450753" y="5085184"/>
            <a:ext cx="1057351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Dec.15.2015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899404" y="5085184"/>
            <a:ext cx="104886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Jan.15.2016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308304" y="5096217"/>
            <a:ext cx="104886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Feb.15.2016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884368" y="4808185"/>
            <a:ext cx="104021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Mar.15.2016</a:t>
            </a:r>
          </a:p>
        </p:txBody>
      </p:sp>
      <p:sp>
        <p:nvSpPr>
          <p:cNvPr id="39" name="Right Arrow 38"/>
          <p:cNvSpPr/>
          <p:nvPr/>
        </p:nvSpPr>
        <p:spPr bwMode="auto">
          <a:xfrm>
            <a:off x="827584" y="5445224"/>
            <a:ext cx="7920880" cy="86409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raft  and Report Writing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1547664" y="5085184"/>
            <a:ext cx="104021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Oct.16.2015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251520" y="5085184"/>
            <a:ext cx="106591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Sep.15.2015</a:t>
            </a:r>
          </a:p>
        </p:txBody>
      </p:sp>
      <p:grpSp>
        <p:nvGrpSpPr>
          <p:cNvPr id="66" name="Group 65"/>
          <p:cNvGrpSpPr/>
          <p:nvPr/>
        </p:nvGrpSpPr>
        <p:grpSpPr>
          <a:xfrm>
            <a:off x="251520" y="2636913"/>
            <a:ext cx="792088" cy="936103"/>
            <a:chOff x="1547664" y="2810931"/>
            <a:chExt cx="3600400" cy="1482165"/>
          </a:xfrm>
        </p:grpSpPr>
        <p:grpSp>
          <p:nvGrpSpPr>
            <p:cNvPr id="67" name="Gruppieren 16"/>
            <p:cNvGrpSpPr/>
            <p:nvPr/>
          </p:nvGrpSpPr>
          <p:grpSpPr>
            <a:xfrm>
              <a:off x="1547664" y="2810931"/>
              <a:ext cx="3600400" cy="1482165"/>
              <a:chOff x="508000" y="4125757"/>
              <a:chExt cx="8128000" cy="667027"/>
            </a:xfrm>
          </p:grpSpPr>
          <p:sp>
            <p:nvSpPr>
              <p:cNvPr id="69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70" name="Inhaltsplatzhalter 2"/>
              <p:cNvSpPr txBox="1">
                <a:spLocks/>
              </p:cNvSpPr>
              <p:nvPr/>
            </p:nvSpPr>
            <p:spPr bwMode="auto">
              <a:xfrm>
                <a:off x="508000" y="4125757"/>
                <a:ext cx="6096000" cy="20524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sp>
          <p:nvSpPr>
            <p:cNvPr id="68" name="TextBox 67"/>
            <p:cNvSpPr txBox="1"/>
            <p:nvPr/>
          </p:nvSpPr>
          <p:spPr>
            <a:xfrm>
              <a:off x="1619673" y="3429000"/>
              <a:ext cx="3456386" cy="5847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Arial" pitchFamily="34" charset="0"/>
                </a:rPr>
                <a:t>Background context</a:t>
              </a: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755576" y="3861048"/>
            <a:ext cx="1008112" cy="864096"/>
            <a:chOff x="1547664" y="2924944"/>
            <a:chExt cx="3600400" cy="1368152"/>
          </a:xfrm>
        </p:grpSpPr>
        <p:grpSp>
          <p:nvGrpSpPr>
            <p:cNvPr id="73" name="Gruppieren 16"/>
            <p:cNvGrpSpPr/>
            <p:nvPr/>
          </p:nvGrpSpPr>
          <p:grpSpPr>
            <a:xfrm>
              <a:off x="1547664" y="2924944"/>
              <a:ext cx="3600400" cy="1368152"/>
              <a:chOff x="508000" y="4177067"/>
              <a:chExt cx="8128000" cy="615717"/>
            </a:xfrm>
          </p:grpSpPr>
          <p:sp>
            <p:nvSpPr>
              <p:cNvPr id="75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76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096000" cy="20523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2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4" name="TextBox 73"/>
            <p:cNvSpPr txBox="1"/>
            <p:nvPr/>
          </p:nvSpPr>
          <p:spPr>
            <a:xfrm>
              <a:off x="1619673" y="3429000"/>
              <a:ext cx="3456386" cy="8040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Arial" pitchFamily="34" charset="0"/>
                </a:rPr>
                <a:t>Size of a </a:t>
              </a:r>
              <a:r>
                <a:rPr lang="en-US" sz="900" b="1" dirty="0" err="1" smtClean="0">
                  <a:latin typeface="Arial" pitchFamily="34" charset="0"/>
                </a:rPr>
                <a:t>microservice</a:t>
              </a:r>
              <a:endParaRPr lang="en-US" sz="900" b="1" dirty="0" smtClean="0">
                <a:latin typeface="Arial" pitchFamily="34" charset="0"/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1619672" y="1988840"/>
            <a:ext cx="1152128" cy="1080120"/>
            <a:chOff x="1547664" y="2924944"/>
            <a:chExt cx="3600400" cy="1368152"/>
          </a:xfrm>
        </p:grpSpPr>
        <p:grpSp>
          <p:nvGrpSpPr>
            <p:cNvPr id="78" name="Gruppieren 16"/>
            <p:cNvGrpSpPr/>
            <p:nvPr/>
          </p:nvGrpSpPr>
          <p:grpSpPr>
            <a:xfrm>
              <a:off x="1547664" y="2924944"/>
              <a:ext cx="3600400" cy="1368152"/>
              <a:chOff x="508000" y="4177067"/>
              <a:chExt cx="8128000" cy="615717"/>
            </a:xfrm>
          </p:grpSpPr>
          <p:sp>
            <p:nvSpPr>
              <p:cNvPr id="80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81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096000" cy="20523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sp>
          <p:nvSpPr>
            <p:cNvPr id="79" name="TextBox 78"/>
            <p:cNvSpPr txBox="1"/>
            <p:nvPr/>
          </p:nvSpPr>
          <p:spPr>
            <a:xfrm>
              <a:off x="1619675" y="3429000"/>
              <a:ext cx="3456386" cy="8040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Arial" pitchFamily="34" charset="0"/>
                </a:rPr>
                <a:t>Qualities of a good </a:t>
              </a:r>
              <a:r>
                <a:rPr lang="en-US" sz="900" b="1" dirty="0" err="1" smtClean="0">
                  <a:latin typeface="Arial" pitchFamily="34" charset="0"/>
                </a:rPr>
                <a:t>microservice</a:t>
              </a:r>
              <a:endParaRPr lang="en-US" sz="900" b="1" dirty="0" smtClean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120760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err="1" smtClean="0">
                <a:solidFill>
                  <a:schemeClr val="bg1"/>
                </a:solidFill>
              </a:rPr>
              <a:t>Hybris</a:t>
            </a:r>
            <a:r>
              <a:rPr lang="en-GB" dirty="0" smtClean="0">
                <a:solidFill>
                  <a:schemeClr val="bg1"/>
                </a:solidFill>
              </a:rPr>
              <a:t> </a:t>
            </a:r>
            <a:r>
              <a:rPr lang="en-GB" dirty="0" err="1" smtClean="0">
                <a:solidFill>
                  <a:schemeClr val="bg1"/>
                </a:solidFill>
              </a:rPr>
              <a:t>Microservices</a:t>
            </a:r>
            <a:r>
              <a:rPr lang="en-GB" dirty="0" smtClean="0">
                <a:solidFill>
                  <a:schemeClr val="bg1"/>
                </a:solidFill>
              </a:rPr>
              <a:t> Architectur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4</a:t>
            </a:fld>
            <a:endParaRPr lang="en-GB" dirty="0"/>
          </a:p>
        </p:txBody>
      </p:sp>
      <p:sp>
        <p:nvSpPr>
          <p:cNvPr id="26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pic>
        <p:nvPicPr>
          <p:cNvPr id="8" name="Picture 7" descr="hybris_architectur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484784"/>
            <a:ext cx="8421864" cy="36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250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9" name="Textplatzhalter 2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5</a:t>
            </a:fld>
            <a:endParaRPr lang="en-GB" dirty="0"/>
          </a:p>
        </p:txBody>
      </p:sp>
      <p:sp>
        <p:nvSpPr>
          <p:cNvPr id="20" name="Inhaltsplatzhalter 4"/>
          <p:cNvSpPr txBox="1">
            <a:spLocks noChangeArrowheads="1"/>
          </p:cNvSpPr>
          <p:nvPr/>
        </p:nvSpPr>
        <p:spPr bwMode="auto">
          <a:xfrm>
            <a:off x="974725" y="2898378"/>
            <a:ext cx="7499350" cy="168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Thank you for your attention!</a:t>
            </a:r>
          </a:p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Any questions?</a:t>
            </a:r>
            <a:r>
              <a:rPr lang="en-GB" altLang="de-DE" sz="3200" dirty="0" smtClean="0">
                <a:solidFill>
                  <a:srgbClr val="00335F"/>
                </a:solidFill>
                <a:latin typeface="+mn-lt"/>
              </a:rPr>
              <a:t> </a:t>
            </a:r>
            <a:endParaRPr lang="en-GB" altLang="de-DE" sz="3200" dirty="0">
              <a:solidFill>
                <a:srgbClr val="00335F"/>
              </a:solidFill>
              <a:latin typeface="+mn-lt"/>
            </a:endParaRPr>
          </a:p>
        </p:txBody>
      </p:sp>
      <p:sp>
        <p:nvSpPr>
          <p:cNvPr id="26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</p:spTree>
    <p:extLst>
      <p:ext uri="{BB962C8B-B14F-4D97-AF65-F5344CB8AC3E}">
        <p14:creationId xmlns:p14="http://schemas.microsoft.com/office/powerpoint/2010/main" val="330676698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654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4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6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Bibliography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980728"/>
            <a:ext cx="8712968" cy="54476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C. Richardson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: Decomposing Applications for </a:t>
            </a:r>
            <a:r>
              <a:rPr lang="en-US" sz="1200" dirty="0" err="1">
                <a:solidFill>
                  <a:srgbClr val="000000"/>
                </a:solidFill>
              </a:rPr>
              <a:t>Deployability</a:t>
            </a:r>
            <a:r>
              <a:rPr lang="en-US" sz="1200" dirty="0">
                <a:solidFill>
                  <a:srgbClr val="000000"/>
                </a:solidFill>
              </a:rPr>
              <a:t> and Scalability. May 2014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C. Richardson. Pattern: Monolithic Architecture. 2014. </a:t>
            </a:r>
            <a:r>
              <a:rPr lang="en-US" sz="1200" dirty="0" err="1">
                <a:solidFill>
                  <a:srgbClr val="000000"/>
                </a:solidFill>
              </a:rPr>
              <a:t>url</a:t>
            </a:r>
            <a:r>
              <a:rPr lang="en-US" sz="1200" dirty="0">
                <a:solidFill>
                  <a:srgbClr val="000000"/>
                </a:solidFill>
              </a:rPr>
              <a:t>: http://</a:t>
            </a:r>
            <a:r>
              <a:rPr lang="en-US" sz="1200" dirty="0" err="1">
                <a:solidFill>
                  <a:srgbClr val="000000"/>
                </a:solidFill>
              </a:rPr>
              <a:t>microservices.io</a:t>
            </a:r>
            <a:r>
              <a:rPr lang="en-US" sz="1200" dirty="0">
                <a:solidFill>
                  <a:srgbClr val="000000"/>
                </a:solidFill>
              </a:rPr>
              <a:t>/patterns/</a:t>
            </a:r>
            <a:r>
              <a:rPr lang="en-US" sz="1200" dirty="0" err="1">
                <a:solidFill>
                  <a:srgbClr val="000000"/>
                </a:solidFill>
              </a:rPr>
              <a:t>monolithic.html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R. Annett. What is a Monolith? Nov. 2014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M. Fowler and J. Lewis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. Mar. 2014. </a:t>
            </a:r>
            <a:r>
              <a:rPr lang="en-US" sz="1200" dirty="0" err="1">
                <a:solidFill>
                  <a:srgbClr val="000000"/>
                </a:solidFill>
              </a:rPr>
              <a:t>url</a:t>
            </a:r>
            <a:r>
              <a:rPr lang="en-US" sz="1200" dirty="0">
                <a:solidFill>
                  <a:srgbClr val="000000"/>
                </a:solidFill>
              </a:rPr>
              <a:t>: http://</a:t>
            </a:r>
            <a:r>
              <a:rPr lang="en-US" sz="1200" dirty="0" err="1">
                <a:solidFill>
                  <a:srgbClr val="000000"/>
                </a:solidFill>
              </a:rPr>
              <a:t>martinfowler.com</a:t>
            </a:r>
            <a:r>
              <a:rPr lang="en-US" sz="1200" dirty="0">
                <a:solidFill>
                  <a:srgbClr val="000000"/>
                </a:solidFill>
              </a:rPr>
              <a:t>/articles/</a:t>
            </a:r>
            <a:r>
              <a:rPr lang="en-US" sz="1200" dirty="0" err="1">
                <a:solidFill>
                  <a:srgbClr val="000000"/>
                </a:solidFill>
              </a:rPr>
              <a:t>microservices.html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Gupta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, Monoliths, and </a:t>
            </a:r>
            <a:r>
              <a:rPr lang="en-US" sz="1200" dirty="0" err="1">
                <a:solidFill>
                  <a:srgbClr val="000000"/>
                </a:solidFill>
              </a:rPr>
              <a:t>NoOps</a:t>
            </a:r>
            <a:r>
              <a:rPr lang="en-US" sz="1200" dirty="0">
                <a:solidFill>
                  <a:srgbClr val="000000"/>
                </a:solidFill>
              </a:rPr>
              <a:t>. Mar. 2015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S. Abram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. Oct. 2014. </a:t>
            </a:r>
            <a:r>
              <a:rPr lang="en-US" sz="1200" dirty="0" err="1">
                <a:solidFill>
                  <a:srgbClr val="000000"/>
                </a:solidFill>
              </a:rPr>
              <a:t>url</a:t>
            </a:r>
            <a:r>
              <a:rPr lang="en-US" sz="1200" dirty="0">
                <a:solidFill>
                  <a:srgbClr val="000000"/>
                </a:solidFill>
              </a:rPr>
              <a:t>: http://www.javacodegeeks.com2014/10/</a:t>
            </a:r>
            <a:r>
              <a:rPr lang="en-US" sz="1200" dirty="0" err="1">
                <a:solidFill>
                  <a:srgbClr val="000000"/>
                </a:solidFill>
              </a:rPr>
              <a:t>microservices.html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D. </a:t>
            </a:r>
            <a:r>
              <a:rPr lang="en-US" sz="1200" dirty="0" err="1">
                <a:solidFill>
                  <a:srgbClr val="000000"/>
                </a:solidFill>
              </a:rPr>
              <a:t>Namiot</a:t>
            </a:r>
            <a:r>
              <a:rPr lang="en-US" sz="1200" dirty="0">
                <a:solidFill>
                  <a:srgbClr val="000000"/>
                </a:solidFill>
              </a:rPr>
              <a:t> and M. </a:t>
            </a:r>
            <a:r>
              <a:rPr lang="en-US" sz="1200" dirty="0" err="1">
                <a:solidFill>
                  <a:srgbClr val="000000"/>
                </a:solidFill>
              </a:rPr>
              <a:t>Sneps-Sneppe</a:t>
            </a:r>
            <a:r>
              <a:rPr lang="en-US" sz="1200" dirty="0">
                <a:solidFill>
                  <a:srgbClr val="000000"/>
                </a:solidFill>
              </a:rPr>
              <a:t>. On Micro-services Architecture. Tech. </a:t>
            </a:r>
            <a:r>
              <a:rPr lang="en-US" sz="1200" dirty="0" err="1">
                <a:solidFill>
                  <a:srgbClr val="000000"/>
                </a:solidFill>
              </a:rPr>
              <a:t>rep.Open</a:t>
            </a:r>
            <a:r>
              <a:rPr lang="en-US" sz="1200" dirty="0">
                <a:solidFill>
                  <a:srgbClr val="000000"/>
                </a:solidFill>
              </a:rPr>
              <a:t> Information Technologies Lab, </a:t>
            </a:r>
            <a:r>
              <a:rPr lang="en-US" sz="1200" dirty="0" err="1">
                <a:solidFill>
                  <a:srgbClr val="000000"/>
                </a:solidFill>
              </a:rPr>
              <a:t>Lomonosov</a:t>
            </a:r>
            <a:r>
              <a:rPr lang="en-US" sz="1200" dirty="0">
                <a:solidFill>
                  <a:srgbClr val="000000"/>
                </a:solidFill>
              </a:rPr>
              <a:t> Moscow State University,2014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S. Newman. Building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. O’Reilly Media, 2015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C. Richardson. Pattern: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 Architecture. 2014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B. </a:t>
            </a:r>
            <a:r>
              <a:rPr lang="en-US" sz="1200" dirty="0" err="1">
                <a:solidFill>
                  <a:srgbClr val="000000"/>
                </a:solidFill>
              </a:rPr>
              <a:t>Wootton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 - Not A Free Lunch! Apr. 2014. </a:t>
            </a:r>
            <a:r>
              <a:rPr lang="en-US" sz="1200" dirty="0" err="1">
                <a:solidFill>
                  <a:srgbClr val="000000"/>
                </a:solidFill>
              </a:rPr>
              <a:t>url</a:t>
            </a:r>
            <a:r>
              <a:rPr lang="en-US" sz="1200" dirty="0">
                <a:solidFill>
                  <a:srgbClr val="000000"/>
                </a:solidFill>
              </a:rPr>
              <a:t>: http://</a:t>
            </a:r>
            <a:r>
              <a:rPr lang="en-US" sz="1200" dirty="0" err="1">
                <a:solidFill>
                  <a:srgbClr val="000000"/>
                </a:solidFill>
              </a:rPr>
              <a:t>highscalability.com</a:t>
            </a:r>
            <a:r>
              <a:rPr lang="en-US" sz="1200" dirty="0">
                <a:solidFill>
                  <a:srgbClr val="000000"/>
                </a:solidFill>
              </a:rPr>
              <a:t>/blog/2014/4/8/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- not- a- </a:t>
            </a:r>
            <a:r>
              <a:rPr lang="en-US" sz="1200" dirty="0" err="1">
                <a:solidFill>
                  <a:srgbClr val="000000"/>
                </a:solidFill>
              </a:rPr>
              <a:t>freelunch.html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A. Cockcroft. State of the Art in </a:t>
            </a:r>
            <a:r>
              <a:rPr lang="en-US" sz="1200" dirty="0" err="1">
                <a:solidFill>
                  <a:srgbClr val="000000"/>
                </a:solidFill>
              </a:rPr>
              <a:t>Mircroservices</a:t>
            </a:r>
            <a:r>
              <a:rPr lang="en-US" sz="1200" dirty="0">
                <a:solidFill>
                  <a:srgbClr val="000000"/>
                </a:solidFill>
              </a:rPr>
              <a:t>. Feb. 2015. </a:t>
            </a:r>
            <a:r>
              <a:rPr lang="en-US" sz="1200" dirty="0" err="1">
                <a:solidFill>
                  <a:srgbClr val="000000"/>
                </a:solidFill>
              </a:rPr>
              <a:t>url</a:t>
            </a:r>
            <a:r>
              <a:rPr lang="en-US" sz="1200" dirty="0">
                <a:solidFill>
                  <a:srgbClr val="000000"/>
                </a:solidFill>
              </a:rPr>
              <a:t>: </a:t>
            </a:r>
            <a:r>
              <a:rPr lang="en-US" sz="1200" u="sng" dirty="0">
                <a:solidFill>
                  <a:srgbClr val="000000"/>
                </a:solidFill>
                <a:hlinkClick r:id="rId8"/>
              </a:rPr>
              <a:t>http://www.slideshare.net/adriancockcroft/microxchg-microservices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G. </a:t>
            </a:r>
            <a:r>
              <a:rPr lang="en-US" sz="1200" dirty="0" err="1">
                <a:solidFill>
                  <a:srgbClr val="000000"/>
                </a:solidFill>
              </a:rPr>
              <a:t>Radchenko</a:t>
            </a:r>
            <a:r>
              <a:rPr lang="en-US" sz="1200" dirty="0">
                <a:solidFill>
                  <a:srgbClr val="000000"/>
                </a:solidFill>
              </a:rPr>
              <a:t>, O. </a:t>
            </a:r>
            <a:r>
              <a:rPr lang="en-US" sz="1200" dirty="0" err="1">
                <a:solidFill>
                  <a:srgbClr val="000000"/>
                </a:solidFill>
              </a:rPr>
              <a:t>Taipale</a:t>
            </a:r>
            <a:r>
              <a:rPr lang="en-US" sz="1200" dirty="0">
                <a:solidFill>
                  <a:srgbClr val="000000"/>
                </a:solidFill>
              </a:rPr>
              <a:t>, and D. </a:t>
            </a:r>
            <a:r>
              <a:rPr lang="en-US" sz="1200" dirty="0" err="1">
                <a:solidFill>
                  <a:srgbClr val="000000"/>
                </a:solidFill>
              </a:rPr>
              <a:t>Savchenko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  <a:r>
              <a:rPr lang="en-US" sz="1200" dirty="0" err="1">
                <a:solidFill>
                  <a:srgbClr val="000000"/>
                </a:solidFill>
              </a:rPr>
              <a:t>Microservices</a:t>
            </a:r>
            <a:r>
              <a:rPr lang="en-US" sz="1200" dirty="0">
                <a:solidFill>
                  <a:srgbClr val="000000"/>
                </a:solidFill>
              </a:rPr>
              <a:t> validation: </a:t>
            </a:r>
            <a:r>
              <a:rPr lang="en-US" sz="1200" dirty="0" err="1">
                <a:solidFill>
                  <a:srgbClr val="000000"/>
                </a:solidFill>
              </a:rPr>
              <a:t>Mjolnirrplatformcase</a:t>
            </a:r>
            <a:r>
              <a:rPr lang="en-US" sz="1200" dirty="0">
                <a:solidFill>
                  <a:srgbClr val="000000"/>
                </a:solidFill>
              </a:rPr>
              <a:t> study. Tech. rep. Lappeenranta University of Technology,2015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R. </a:t>
            </a:r>
            <a:r>
              <a:rPr lang="en-US" sz="1200" dirty="0" err="1">
                <a:solidFill>
                  <a:srgbClr val="000000"/>
                </a:solidFill>
              </a:rPr>
              <a:t>Sindhgatta</a:t>
            </a:r>
            <a:r>
              <a:rPr lang="en-US" sz="1200" dirty="0">
                <a:solidFill>
                  <a:srgbClr val="000000"/>
                </a:solidFill>
              </a:rPr>
              <a:t>, B. </a:t>
            </a:r>
            <a:r>
              <a:rPr lang="en-US" sz="1200" dirty="0" err="1">
                <a:solidFill>
                  <a:srgbClr val="000000"/>
                </a:solidFill>
              </a:rPr>
              <a:t>Sengupta</a:t>
            </a:r>
            <a:r>
              <a:rPr lang="en-US" sz="1200" dirty="0">
                <a:solidFill>
                  <a:srgbClr val="000000"/>
                </a:solidFill>
              </a:rPr>
              <a:t>, and K. </a:t>
            </a:r>
            <a:r>
              <a:rPr lang="en-US" sz="1200" dirty="0" err="1">
                <a:solidFill>
                  <a:srgbClr val="000000"/>
                </a:solidFill>
              </a:rPr>
              <a:t>Ponnalagu</a:t>
            </a:r>
            <a:r>
              <a:rPr lang="en-US" sz="1200" dirty="0">
                <a:solidFill>
                  <a:srgbClr val="000000"/>
                </a:solidFill>
              </a:rPr>
              <a:t>. Measuring the Quality of Service Oriented Design. Tech. rep. IBM India Research Laboratory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B. Shim, S. </a:t>
            </a:r>
            <a:r>
              <a:rPr lang="en-US" sz="1200" dirty="0" err="1">
                <a:solidFill>
                  <a:srgbClr val="000000"/>
                </a:solidFill>
              </a:rPr>
              <a:t>Choue</a:t>
            </a:r>
            <a:r>
              <a:rPr lang="en-US" sz="1200" dirty="0">
                <a:solidFill>
                  <a:srgbClr val="000000"/>
                </a:solidFill>
              </a:rPr>
              <a:t>, S. Kim, and S. Park. A Design Quality Model for Service-Oriented Architecture. Tech. rep. </a:t>
            </a:r>
            <a:r>
              <a:rPr lang="en-US" sz="1200" dirty="0" err="1">
                <a:solidFill>
                  <a:srgbClr val="000000"/>
                </a:solidFill>
              </a:rPr>
              <a:t>Sogang</a:t>
            </a:r>
            <a:r>
              <a:rPr lang="en-US" sz="1200" dirty="0">
                <a:solidFill>
                  <a:srgbClr val="000000"/>
                </a:solidFill>
              </a:rPr>
              <a:t> University, 2008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S. </a:t>
            </a:r>
            <a:r>
              <a:rPr lang="en-US" sz="1200" dirty="0" err="1">
                <a:solidFill>
                  <a:srgbClr val="000000"/>
                </a:solidFill>
              </a:rPr>
              <a:t>Alahmari</a:t>
            </a:r>
            <a:r>
              <a:rPr lang="en-US" sz="1200" dirty="0">
                <a:solidFill>
                  <a:srgbClr val="000000"/>
                </a:solidFill>
              </a:rPr>
              <a:t>, E. </a:t>
            </a:r>
            <a:r>
              <a:rPr lang="en-US" sz="1200" dirty="0" err="1">
                <a:solidFill>
                  <a:srgbClr val="000000"/>
                </a:solidFill>
              </a:rPr>
              <a:t>Zaluska</a:t>
            </a:r>
            <a:r>
              <a:rPr lang="en-US" sz="1200" dirty="0">
                <a:solidFill>
                  <a:srgbClr val="000000"/>
                </a:solidFill>
              </a:rPr>
              <a:t>, and D. C. D. </a:t>
            </a:r>
            <a:r>
              <a:rPr lang="en-US" sz="1200" dirty="0" err="1">
                <a:solidFill>
                  <a:srgbClr val="000000"/>
                </a:solidFill>
              </a:rPr>
              <a:t>Roure</a:t>
            </a:r>
            <a:r>
              <a:rPr lang="en-US" sz="1200" dirty="0">
                <a:solidFill>
                  <a:srgbClr val="000000"/>
                </a:solidFill>
              </a:rPr>
              <a:t>. A Metrics Framework for Evaluating SOA Service Granularity. Tech. rep. School of Electronics and Computer Science University Southampton, 2011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>
                <a:solidFill>
                  <a:srgbClr val="000000"/>
                </a:solidFill>
                <a:hlinkClick r:id="rId9"/>
              </a:rPr>
              <a:t>http://programmer.97things.oreilly.com/wiki/index.php/The_Single_Responsibility_Principle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 smtClean="0">
                <a:solidFill>
                  <a:srgbClr val="000000"/>
                </a:solidFill>
                <a:hlinkClick r:id="rId10"/>
              </a:rPr>
              <a:t>M. Stine. Jun. 2014. url: http</a:t>
            </a:r>
            <a:r>
              <a:rPr lang="en-US" sz="1200" u="sng" dirty="0">
                <a:solidFill>
                  <a:srgbClr val="000000"/>
                </a:solidFill>
                <a:hlinkClick r:id="rId10"/>
              </a:rPr>
              <a:t>://www.mattstine.com/2014/06/30/microservices-are-solid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 smtClean="0">
                <a:solidFill>
                  <a:srgbClr val="000000"/>
                </a:solidFill>
                <a:hlinkClick r:id="rId11"/>
              </a:rPr>
              <a:t>E. Cobham Brewer url: http</a:t>
            </a:r>
            <a:r>
              <a:rPr lang="en-US" sz="1200" u="sng" dirty="0">
                <a:solidFill>
                  <a:srgbClr val="000000"/>
                </a:solidFill>
                <a:hlinkClick r:id="rId11"/>
              </a:rPr>
              <a:t>://www.objectmentor.com/resources/articles/srp.pdf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>
                <a:solidFill>
                  <a:srgbClr val="000000"/>
                </a:solidFill>
                <a:hlinkClick r:id="rId12"/>
              </a:rPr>
              <a:t>http://deviq.com/single-responsibility-principle/</a:t>
            </a:r>
            <a:endParaRPr lang="en-US" sz="12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 smtClean="0">
                <a:solidFill>
                  <a:srgbClr val="000000"/>
                </a:solidFill>
                <a:hlinkClick r:id="rId13"/>
              </a:rPr>
              <a:t>J. Cramon. Feb. 2014 url: https</a:t>
            </a:r>
            <a:r>
              <a:rPr lang="en-US" sz="1200" u="sng" dirty="0">
                <a:solidFill>
                  <a:srgbClr val="000000"/>
                </a:solidFill>
                <a:hlinkClick r:id="rId13"/>
              </a:rPr>
              <a:t>://www.tigerteam.dk/2014/micro-services-its-not-only-the-size-that-matters-its-also-how-you-use-them-part-1</a:t>
            </a:r>
            <a:r>
              <a:rPr lang="en-US" sz="1200" u="sng" dirty="0" smtClean="0">
                <a:solidFill>
                  <a:srgbClr val="000000"/>
                </a:solidFill>
                <a:hlinkClick r:id="rId13"/>
              </a:rPr>
              <a:t>/</a:t>
            </a: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22570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792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7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Bibliography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980728"/>
            <a:ext cx="8712968" cy="5632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lvl="0" indent="-342900">
              <a:buFont typeface="+mj-lt"/>
              <a:buAutoNum type="arabicPeriod" startAt="21"/>
            </a:pPr>
            <a:r>
              <a:rPr lang="en-US" sz="1200" u="sng" dirty="0">
                <a:hlinkClick r:id="rId8"/>
              </a:rPr>
              <a:t>J. Stenberg. Feb. 2015 url: http://www.infoq.com/news/2015/02/characteristics-microservices-ap</a:t>
            </a:r>
            <a:endParaRPr lang="en-US" sz="1200" dirty="0"/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 smtClean="0"/>
              <a:t>A</a:t>
            </a:r>
            <a:r>
              <a:rPr lang="en-US" sz="1200" dirty="0"/>
              <a:t>. </a:t>
            </a:r>
            <a:r>
              <a:rPr lang="en-US" sz="1200" dirty="0" err="1"/>
              <a:t>Rostampour</a:t>
            </a:r>
            <a:r>
              <a:rPr lang="en-US" sz="1200" dirty="0"/>
              <a:t>, A. </a:t>
            </a:r>
            <a:r>
              <a:rPr lang="en-US" sz="1200" dirty="0" err="1"/>
              <a:t>Kazemi</a:t>
            </a:r>
            <a:r>
              <a:rPr lang="en-US" sz="1200" dirty="0"/>
              <a:t>, F. Shams, P. </a:t>
            </a:r>
            <a:r>
              <a:rPr lang="en-US" sz="1200" dirty="0" err="1"/>
              <a:t>Jamshidi</a:t>
            </a:r>
            <a:r>
              <a:rPr lang="en-US" sz="1200" dirty="0"/>
              <a:t>, and A. </a:t>
            </a:r>
            <a:r>
              <a:rPr lang="en-US" sz="1200" dirty="0" err="1"/>
              <a:t>Azizkandi</a:t>
            </a:r>
            <a:r>
              <a:rPr lang="en-US" sz="1200" dirty="0"/>
              <a:t>. Measures of Structural Complexity and Service Autonomy. Tech. rep. </a:t>
            </a:r>
            <a:r>
              <a:rPr lang="en-US" sz="1200" dirty="0" err="1"/>
              <a:t>Shahid</a:t>
            </a:r>
            <a:r>
              <a:rPr lang="en-US" sz="1200" dirty="0"/>
              <a:t> </a:t>
            </a:r>
            <a:r>
              <a:rPr lang="en-US" sz="1200" dirty="0" err="1"/>
              <a:t>Beheshti</a:t>
            </a:r>
            <a:r>
              <a:rPr lang="en-US" sz="1200" dirty="0"/>
              <a:t> University GC, 2011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Y. Ma, H.X. Li, and P. Sun, "A Lightweight Agent Fabric for Service Autonomy," Springer, 2007, pp. 63-77. 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P. </a:t>
            </a:r>
            <a:r>
              <a:rPr lang="en-US" sz="1200" dirty="0" err="1"/>
              <a:t>Reldin</a:t>
            </a:r>
            <a:r>
              <a:rPr lang="en-US" sz="1200" dirty="0"/>
              <a:t> and P. </a:t>
            </a:r>
            <a:r>
              <a:rPr lang="en-US" sz="1200" dirty="0" err="1"/>
              <a:t>Sundling</a:t>
            </a:r>
            <a:r>
              <a:rPr lang="en-US" sz="1200" dirty="0"/>
              <a:t>. Explaining SOA Service Granularity– How IT strategy shapes services. Tech. rep. Linköping University, 2007. 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P. </a:t>
            </a:r>
            <a:r>
              <a:rPr lang="en-US" sz="1200" dirty="0" err="1"/>
              <a:t>Herzum</a:t>
            </a:r>
            <a:r>
              <a:rPr lang="en-US" sz="1200" dirty="0"/>
              <a:t> and O. Sims. Business Components Factory: A Comprehensive Overview of Component-Based Development for the Enterprise. John Wiley Sons, 2000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W. Xiao-jun. Metrics for Evaluating Coupling and Service Granularity in Service Oriented Architecture. Tech. rep. Nanjing University of Posts and Telecommunications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Q. Ma, N. Zhou, Y. Zhu, and H. Wang1. Evaluating Service Identification with Design Metrics on Business Process Decomposition. Tech. rep. IBM China Research Laboratory and IBM T.J. Watson Research Center, 2009 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G. </a:t>
            </a:r>
            <a:r>
              <a:rPr lang="en-US" sz="1200" dirty="0" err="1"/>
              <a:t>Feuerlicht</a:t>
            </a:r>
            <a:r>
              <a:rPr lang="en-US" sz="1200" dirty="0"/>
              <a:t> and J. </a:t>
            </a:r>
            <a:r>
              <a:rPr lang="en-US" sz="1200" dirty="0" err="1"/>
              <a:t>Lozina</a:t>
            </a:r>
            <a:r>
              <a:rPr lang="en-US" sz="1200" dirty="0"/>
              <a:t>. Understanding Service Reusability. Tech. rep. University of Technology, 2007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Guidelines for performing Systematic Literature Reviews in Software </a:t>
            </a:r>
            <a:r>
              <a:rPr lang="en-US" sz="1200" dirty="0" err="1"/>
              <a:t>Engineering.Tech</a:t>
            </a:r>
            <a:r>
              <a:rPr lang="en-US" sz="1200" dirty="0"/>
              <a:t>. rep. </a:t>
            </a:r>
            <a:r>
              <a:rPr lang="en-US" sz="1200" dirty="0" err="1"/>
              <a:t>Keele</a:t>
            </a:r>
            <a:r>
              <a:rPr lang="en-US" sz="1200" dirty="0"/>
              <a:t> University, 2007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D. </a:t>
            </a:r>
            <a:r>
              <a:rPr lang="en-US" sz="1200" dirty="0" err="1"/>
              <a:t>Foody</a:t>
            </a:r>
            <a:r>
              <a:rPr lang="en-US" sz="1200" dirty="0"/>
              <a:t>. Getting web service granularity right. 2005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A. </a:t>
            </a:r>
            <a:r>
              <a:rPr lang="en-US" sz="1200" dirty="0" err="1"/>
              <a:t>Goeb</a:t>
            </a:r>
            <a:r>
              <a:rPr lang="en-US" sz="1200" dirty="0"/>
              <a:t> and K. </a:t>
            </a:r>
            <a:r>
              <a:rPr lang="en-US" sz="1200" dirty="0" err="1"/>
              <a:t>Lochmann</a:t>
            </a:r>
            <a:r>
              <a:rPr lang="en-US" sz="1200" dirty="0"/>
              <a:t>. A software quality model for SOA. Tech. rep. </a:t>
            </a:r>
            <a:r>
              <a:rPr lang="en-US" sz="1200" dirty="0" err="1"/>
              <a:t>Technische</a:t>
            </a:r>
            <a:r>
              <a:rPr lang="en-US" sz="1200" dirty="0"/>
              <a:t> </a:t>
            </a:r>
            <a:r>
              <a:rPr lang="en-US" sz="1200" dirty="0" err="1"/>
              <a:t>Universität</a:t>
            </a:r>
            <a:r>
              <a:rPr lang="en-US" sz="1200" dirty="0"/>
              <a:t> </a:t>
            </a:r>
            <a:r>
              <a:rPr lang="en-US" sz="1200" dirty="0" err="1"/>
              <a:t>München</a:t>
            </a:r>
            <a:r>
              <a:rPr lang="en-US" sz="1200" dirty="0"/>
              <a:t> and SAP Research, 2011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A. Gupta. </a:t>
            </a:r>
            <a:r>
              <a:rPr lang="en-US" sz="1200" dirty="0" err="1"/>
              <a:t>Microservices</a:t>
            </a:r>
            <a:r>
              <a:rPr lang="en-US" sz="1200" dirty="0"/>
              <a:t>, Monoliths, and </a:t>
            </a:r>
            <a:r>
              <a:rPr lang="en-US" sz="1200" dirty="0" err="1"/>
              <a:t>NoOps</a:t>
            </a:r>
            <a:r>
              <a:rPr lang="en-US" sz="1200" dirty="0"/>
              <a:t>. Mar. 2015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R. </a:t>
            </a:r>
            <a:r>
              <a:rPr lang="en-US" sz="1200" dirty="0" err="1"/>
              <a:t>Haesen</a:t>
            </a:r>
            <a:r>
              <a:rPr lang="en-US" sz="1200" dirty="0"/>
              <a:t>, M. </a:t>
            </a:r>
            <a:r>
              <a:rPr lang="en-US" sz="1200" dirty="0" err="1"/>
              <a:t>Snoeck</a:t>
            </a:r>
            <a:r>
              <a:rPr lang="en-US" sz="1200" dirty="0"/>
              <a:t>, W. </a:t>
            </a:r>
            <a:r>
              <a:rPr lang="en-US" sz="1200" dirty="0" err="1"/>
              <a:t>Lemahieu</a:t>
            </a:r>
            <a:r>
              <a:rPr lang="en-US" sz="1200" dirty="0"/>
              <a:t>, and S. </a:t>
            </a:r>
            <a:r>
              <a:rPr lang="en-US" sz="1200" dirty="0" err="1"/>
              <a:t>Poelmans</a:t>
            </a:r>
            <a:r>
              <a:rPr lang="en-US" sz="1200" dirty="0"/>
              <a:t>. On the Definition of Service Granularity and Its Architectural Impact. Tech. rep. </a:t>
            </a:r>
            <a:r>
              <a:rPr lang="en-US" sz="1200" dirty="0" err="1"/>
              <a:t>Katholieke</a:t>
            </a:r>
            <a:r>
              <a:rPr lang="en-US" sz="1200" dirty="0"/>
              <a:t> </a:t>
            </a:r>
            <a:r>
              <a:rPr lang="en-US" sz="1200" dirty="0" err="1"/>
              <a:t>Universiteit</a:t>
            </a:r>
            <a:r>
              <a:rPr lang="en-US" sz="1200" dirty="0"/>
              <a:t> Leuven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J. K. Lee, S. J. Jung, S. D. Kim, W. H. Jang, and D. H. Ham. Component Identification Method with Coupling and Cohesion. Tech. rep. </a:t>
            </a:r>
            <a:r>
              <a:rPr lang="en-US" sz="1200" dirty="0" err="1"/>
              <a:t>Soongsil</a:t>
            </a:r>
            <a:r>
              <a:rPr lang="en-US" sz="1200" dirty="0"/>
              <a:t> University and Software Quality Evaluation Center, 2001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Q. Ma, N. Zhou, Y. Zhu, and H. Wang1. Evaluating Service Identification with Design Metrics on Business Process Decomposition. Tech. rep. IBM China Research Laboratory and IBM T.J. Watson Research Center, 2009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M. </a:t>
            </a:r>
            <a:r>
              <a:rPr lang="en-US" sz="1200" dirty="0" err="1"/>
              <a:t>Mancioppi</a:t>
            </a:r>
            <a:r>
              <a:rPr lang="en-US" sz="1200" dirty="0"/>
              <a:t>, M. </a:t>
            </a:r>
            <a:r>
              <a:rPr lang="en-US" sz="1200" dirty="0" err="1"/>
              <a:t>Perepletchikov</a:t>
            </a:r>
            <a:r>
              <a:rPr lang="en-US" sz="1200" dirty="0"/>
              <a:t>, C. Ryan, W.-J. van den </a:t>
            </a:r>
            <a:r>
              <a:rPr lang="en-US" sz="1200" dirty="0" err="1"/>
              <a:t>Heuvel</a:t>
            </a:r>
            <a:r>
              <a:rPr lang="en-US" sz="1200" dirty="0"/>
              <a:t>, and M. P. </a:t>
            </a:r>
            <a:r>
              <a:rPr lang="en-US" sz="1200" dirty="0" err="1"/>
              <a:t>Papazoglou</a:t>
            </a:r>
            <a:r>
              <a:rPr lang="en-US" sz="1200" dirty="0"/>
              <a:t>. Towards a Quality Model for Choreography. Tech. rep. European Research Institute in Services Science, Tilburg University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Y.-F. Ma, H. X. Li, and P. Sun. A Lightweight Agent Fabric for Service Autonomy. Tech. rep. IBM China Research Lab and </a:t>
            </a:r>
            <a:r>
              <a:rPr lang="en-US" sz="1200" dirty="0" err="1"/>
              <a:t>Bei</a:t>
            </a:r>
            <a:r>
              <a:rPr lang="en-US" sz="1200" dirty="0"/>
              <a:t> Hang University, 2007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V. D. Naveen </a:t>
            </a:r>
            <a:r>
              <a:rPr lang="en-US" sz="1200" dirty="0" err="1"/>
              <a:t>Kulkarni</a:t>
            </a:r>
            <a:r>
              <a:rPr lang="en-US" sz="1200" dirty="0"/>
              <a:t>. The Role of Service Granularity in A Successful SOA Realization – A Case Study. Tech. rep. </a:t>
            </a:r>
            <a:r>
              <a:rPr lang="en-US" sz="1200" dirty="0" err="1"/>
              <a:t>SETLabs</a:t>
            </a:r>
            <a:r>
              <a:rPr lang="en-US" sz="1200" dirty="0"/>
              <a:t>, Infosys Technologies Ltd, 2008</a:t>
            </a:r>
            <a:r>
              <a:rPr lang="en-US" sz="1200" dirty="0" smtClean="0"/>
              <a:t>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20921630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593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8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Bibliography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980728"/>
            <a:ext cx="8712968" cy="1569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M. </a:t>
            </a:r>
            <a:r>
              <a:rPr lang="en-US" sz="1200" dirty="0" err="1"/>
              <a:t>Perepletchikov</a:t>
            </a:r>
            <a:r>
              <a:rPr lang="en-US" sz="1200" dirty="0"/>
              <a:t>, C. Ryan, K. Frampton, and Z. </a:t>
            </a:r>
            <a:r>
              <a:rPr lang="en-US" sz="1200" dirty="0" err="1"/>
              <a:t>Tari</a:t>
            </a:r>
            <a:r>
              <a:rPr lang="en-US" sz="1200" dirty="0"/>
              <a:t>. Coupling Metrics for Predicting Maintainability in Service-Oriented Designs. Tech. rep. RMIT University, 2007.</a:t>
            </a:r>
          </a:p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M. </a:t>
            </a:r>
            <a:r>
              <a:rPr lang="en-US" sz="1200" dirty="0" err="1"/>
              <a:t>Perepletchikov</a:t>
            </a:r>
            <a:r>
              <a:rPr lang="en-US" sz="1200" dirty="0"/>
              <a:t>, C. Ryan, and K. Frampton. Cohesion Metrics for Predicting Maintainability of Service-Oriented Software. Tech. rep. RMIT University, 2007.</a:t>
            </a:r>
          </a:p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C. Richardson. </a:t>
            </a:r>
            <a:r>
              <a:rPr lang="en-US" sz="1200" dirty="0" err="1"/>
              <a:t>Microservices</a:t>
            </a:r>
            <a:r>
              <a:rPr lang="en-US" sz="1200" dirty="0"/>
              <a:t>: Decomposing Applications for </a:t>
            </a:r>
            <a:r>
              <a:rPr lang="en-US" sz="1200" dirty="0" err="1"/>
              <a:t>Deployability</a:t>
            </a:r>
            <a:r>
              <a:rPr lang="en-US" sz="1200" dirty="0"/>
              <a:t> and Scalability. May 2014.</a:t>
            </a:r>
          </a:p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B. Shim, S. </a:t>
            </a:r>
            <a:r>
              <a:rPr lang="en-US" sz="1200" dirty="0" err="1"/>
              <a:t>Choue</a:t>
            </a:r>
            <a:r>
              <a:rPr lang="en-US" sz="1200" dirty="0"/>
              <a:t>, S. Kim, and S. Park. A Design Quality Model for Service-Oriented Architecture. Tech. rep. </a:t>
            </a:r>
            <a:r>
              <a:rPr lang="en-US" sz="1200" dirty="0" err="1"/>
              <a:t>Sogang</a:t>
            </a:r>
            <a:r>
              <a:rPr lang="en-US" sz="1200" dirty="0"/>
              <a:t> University, 2008.</a:t>
            </a:r>
          </a:p>
          <a:p>
            <a:pPr marL="342900" lvl="0" indent="-342900">
              <a:buFont typeface="+mj-lt"/>
              <a:buAutoNum type="arabicPeriod" startAt="39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4437499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59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9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CRUD Matrix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2123728" y="1052736"/>
            <a:ext cx="4608512" cy="4416491"/>
            <a:chOff x="899592" y="1052736"/>
            <a:chExt cx="4608512" cy="4416491"/>
          </a:xfrm>
        </p:grpSpPr>
        <p:pic>
          <p:nvPicPr>
            <p:cNvPr id="6" name="Picture 5" descr="crud_coefficients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1600" y="4293096"/>
              <a:ext cx="4536504" cy="1176131"/>
            </a:xfrm>
            <a:prstGeom prst="rect">
              <a:avLst/>
            </a:prstGeom>
          </p:spPr>
        </p:pic>
        <p:pic>
          <p:nvPicPr>
            <p:cNvPr id="5" name="Picture 4" descr="crud_matri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9592" y="1052736"/>
              <a:ext cx="4608512" cy="33554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670056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836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251520" y="980728"/>
            <a:ext cx="8712968" cy="5472608"/>
            <a:chOff x="508000" y="4076601"/>
            <a:chExt cx="8128000" cy="1354598"/>
          </a:xfrm>
        </p:grpSpPr>
        <p:sp>
          <p:nvSpPr>
            <p:cNvPr id="9" name="Rechteck 8"/>
            <p:cNvSpPr/>
            <p:nvPr/>
          </p:nvSpPr>
          <p:spPr bwMode="auto">
            <a:xfrm>
              <a:off x="508000" y="4149075"/>
              <a:ext cx="8128000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508000" y="4076601"/>
              <a:ext cx="8127999" cy="12476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395536" y="1772816"/>
            <a:ext cx="6912768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pplication deployed as a single artifact irrespective of internal structure</a:t>
            </a: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grpSp>
        <p:nvGrpSpPr>
          <p:cNvPr id="16" name="Group 15"/>
          <p:cNvGrpSpPr/>
          <p:nvPr/>
        </p:nvGrpSpPr>
        <p:grpSpPr>
          <a:xfrm>
            <a:off x="1259632" y="2924944"/>
            <a:ext cx="6279291" cy="2730824"/>
            <a:chOff x="539552" y="1844824"/>
            <a:chExt cx="8125769" cy="3330796"/>
          </a:xfrm>
        </p:grpSpPr>
        <p:pic>
          <p:nvPicPr>
            <p:cNvPr id="20" name="Picture 19" descr="context-monolith-example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9552" y="1844824"/>
              <a:ext cx="8013700" cy="2997200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1303679" y="4725144"/>
              <a:ext cx="7361642" cy="4504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ctr"/>
              <a:r>
                <a:rPr lang="en-US" dirty="0" smtClean="0">
                  <a:latin typeface="Arial" pitchFamily="34" charset="0"/>
                </a:rPr>
                <a:t>Figure: Online Store Example of Monolith Archite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73564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619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0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grpSp>
        <p:nvGrpSpPr>
          <p:cNvPr id="7" name="Group 6"/>
          <p:cNvGrpSpPr/>
          <p:nvPr/>
        </p:nvGrpSpPr>
        <p:grpSpPr>
          <a:xfrm>
            <a:off x="323528" y="1052736"/>
            <a:ext cx="8352928" cy="1569646"/>
            <a:chOff x="323528" y="1052736"/>
            <a:chExt cx="3736032" cy="2434628"/>
          </a:xfrm>
        </p:grpSpPr>
        <p:grpSp>
          <p:nvGrpSpPr>
            <p:cNvPr id="20" name="Gruppieren 7"/>
            <p:cNvGrpSpPr/>
            <p:nvPr/>
          </p:nvGrpSpPr>
          <p:grpSpPr>
            <a:xfrm>
              <a:off x="323528" y="1052736"/>
              <a:ext cx="3736032" cy="2434628"/>
              <a:chOff x="508000" y="4076601"/>
              <a:chExt cx="8434193" cy="1244200"/>
            </a:xfrm>
          </p:grpSpPr>
          <p:sp>
            <p:nvSpPr>
              <p:cNvPr id="23" name="Rechteck 8"/>
              <p:cNvSpPr/>
              <p:nvPr/>
            </p:nvSpPr>
            <p:spPr bwMode="auto">
              <a:xfrm>
                <a:off x="508000" y="4149075"/>
                <a:ext cx="8434193" cy="117172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4" name="Inhaltsplatzhalter 2"/>
              <p:cNvSpPr txBox="1">
                <a:spLocks/>
              </p:cNvSpPr>
              <p:nvPr/>
            </p:nvSpPr>
            <p:spPr bwMode="auto">
              <a:xfrm>
                <a:off x="508000" y="4076601"/>
                <a:ext cx="3853554" cy="28539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Advantages 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" name="TextBox 1"/>
            <p:cNvSpPr txBox="1"/>
            <p:nvPr/>
          </p:nvSpPr>
          <p:spPr>
            <a:xfrm>
              <a:off x="323528" y="1823750"/>
              <a:ext cx="1115045" cy="11457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Easy to develop and test</a:t>
              </a:r>
              <a:endParaRPr lang="en-US" sz="1400" dirty="0">
                <a:latin typeface="Arial" pitchFamily="34" charset="0"/>
              </a:endParaRP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Deployment is easy</a:t>
              </a: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Scaling is simple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23528" y="2850609"/>
            <a:ext cx="8352928" cy="3026663"/>
            <a:chOff x="5148064" y="1006812"/>
            <a:chExt cx="8352928" cy="3456384"/>
          </a:xfrm>
        </p:grpSpPr>
        <p:grpSp>
          <p:nvGrpSpPr>
            <p:cNvPr id="8" name="Gruppieren 7"/>
            <p:cNvGrpSpPr/>
            <p:nvPr/>
          </p:nvGrpSpPr>
          <p:grpSpPr>
            <a:xfrm>
              <a:off x="5148064" y="1006812"/>
              <a:ext cx="8352928" cy="3456384"/>
              <a:chOff x="508000" y="4086962"/>
              <a:chExt cx="17789585" cy="1918182"/>
            </a:xfrm>
          </p:grpSpPr>
          <p:sp>
            <p:nvSpPr>
              <p:cNvPr id="9" name="Rechteck 8"/>
              <p:cNvSpPr/>
              <p:nvPr/>
            </p:nvSpPr>
            <p:spPr bwMode="auto">
              <a:xfrm>
                <a:off x="508000" y="4149075"/>
                <a:ext cx="17789585" cy="1856069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0" name="Inhaltsplatzhalter 2"/>
              <p:cNvSpPr txBox="1">
                <a:spLocks/>
              </p:cNvSpPr>
              <p:nvPr/>
            </p:nvSpPr>
            <p:spPr bwMode="auto">
              <a:xfrm>
                <a:off x="508000" y="4086962"/>
                <a:ext cx="8128000" cy="240420"/>
              </a:xfrm>
              <a:prstGeom prst="rect">
                <a:avLst/>
              </a:pr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Disadvantages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148064" y="1510868"/>
              <a:ext cx="8045792" cy="240065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imited Agility due to difficult continuous deliver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Single codebase, deployment of small change needs whole application to be deployed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Affects continuous delivery, especially when multiple deployment per da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May lack of clear modular boundary and changes get relayed</a:t>
              </a: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Decrease in Productivity due to understandabilit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Understanding of application is difficult due to overwhelming volume of codebase, </a:t>
              </a:r>
              <a:r>
                <a:rPr lang="en-US" sz="1200" dirty="0" err="1" smtClean="0">
                  <a:latin typeface="Arial" pitchFamily="34" charset="0"/>
                </a:rPr>
                <a:t>esp</a:t>
              </a:r>
              <a:r>
                <a:rPr lang="en-US" sz="1200" dirty="0" smtClean="0">
                  <a:latin typeface="Arial" pitchFamily="34" charset="0"/>
                </a:rPr>
                <a:t> for new developer</a:t>
              </a: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ong-term Commitment to Technology Stack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Technology chosen during analysis phase</a:t>
              </a: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imited Scalability due to unavailable option for scaling of individual units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Only one option </a:t>
              </a:r>
              <a:r>
                <a:rPr lang="en-US" sz="1200" dirty="0" err="1" smtClean="0">
                  <a:latin typeface="Arial" pitchFamily="34" charset="0"/>
                </a:rPr>
                <a:t>ie</a:t>
              </a:r>
              <a:r>
                <a:rPr lang="en-US" sz="1200" dirty="0" smtClean="0">
                  <a:latin typeface="Arial" pitchFamily="34" charset="0"/>
                </a:rPr>
                <a:t>, Horizontal Scaling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Independent scaling of components not possible</a:t>
              </a:r>
            </a:p>
            <a:p>
              <a:pPr marL="285750" indent="-285750">
                <a:buFont typeface="Arial"/>
                <a:buChar char="•"/>
              </a:pPr>
              <a:endParaRPr lang="en-US" dirty="0" smtClean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33499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943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err="1" smtClean="0"/>
              <a:t>Microservice</a:t>
            </a:r>
            <a:r>
              <a:rPr lang="en-GB" dirty="0" smtClean="0"/>
              <a:t> Architecture style</a:t>
            </a:r>
            <a:endParaRPr lang="en-GB" dirty="0"/>
          </a:p>
        </p:txBody>
      </p:sp>
      <p:grpSp>
        <p:nvGrpSpPr>
          <p:cNvPr id="15" name="Gruppieren 16"/>
          <p:cNvGrpSpPr/>
          <p:nvPr/>
        </p:nvGrpSpPr>
        <p:grpSpPr>
          <a:xfrm>
            <a:off x="179512" y="908721"/>
            <a:ext cx="8856984" cy="5544615"/>
            <a:chOff x="508000" y="4149079"/>
            <a:chExt cx="8128000" cy="621119"/>
          </a:xfrm>
        </p:grpSpPr>
        <p:sp>
          <p:nvSpPr>
            <p:cNvPr id="16" name="Rechteck 17"/>
            <p:cNvSpPr/>
            <p:nvPr/>
          </p:nvSpPr>
          <p:spPr bwMode="auto">
            <a:xfrm>
              <a:off x="508000" y="4163384"/>
              <a:ext cx="8128000" cy="60681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4839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Rounded Rectangular Callout 8"/>
          <p:cNvSpPr/>
          <p:nvPr/>
        </p:nvSpPr>
        <p:spPr bwMode="auto">
          <a:xfrm>
            <a:off x="5724128" y="3933056"/>
            <a:ext cx="2880320" cy="1368152"/>
          </a:xfrm>
          <a:prstGeom prst="wedgeRoundRectCallout">
            <a:avLst>
              <a:gd name="adj1" fmla="val -20833"/>
              <a:gd name="adj2" fmla="val 41751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</a:t>
            </a:r>
            <a:r>
              <a:rPr lang="en-US" b="1" dirty="0" smtClean="0">
                <a:latin typeface="Arial" pitchFamily="34" charset="0"/>
              </a:rPr>
              <a:t>Loosely </a:t>
            </a:r>
            <a:r>
              <a:rPr lang="en-US" b="1" dirty="0">
                <a:latin typeface="Arial" pitchFamily="34" charset="0"/>
              </a:rPr>
              <a:t>coupled </a:t>
            </a:r>
            <a:r>
              <a:rPr lang="en-US" dirty="0">
                <a:latin typeface="Arial" pitchFamily="34" charset="0"/>
              </a:rPr>
              <a:t>service oriented architecture with </a:t>
            </a:r>
            <a:r>
              <a:rPr lang="en-US" b="1" dirty="0">
                <a:latin typeface="Arial" pitchFamily="34" charset="0"/>
              </a:rPr>
              <a:t>bounded </a:t>
            </a:r>
            <a:r>
              <a:rPr lang="en-US" b="1" dirty="0" smtClean="0">
                <a:latin typeface="Arial" pitchFamily="34" charset="0"/>
              </a:rPr>
              <a:t>contexts</a:t>
            </a:r>
            <a:r>
              <a:rPr lang="en-US" dirty="0" smtClean="0">
                <a:latin typeface="Arial" pitchFamily="34" charset="0"/>
              </a:rPr>
              <a:t>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3" name="Rounded Rectangular Callout 22"/>
          <p:cNvSpPr/>
          <p:nvPr/>
        </p:nvSpPr>
        <p:spPr bwMode="auto">
          <a:xfrm>
            <a:off x="4860032" y="1412776"/>
            <a:ext cx="3096344" cy="1800200"/>
          </a:xfrm>
          <a:prstGeom prst="wedgeRoundRectCallout">
            <a:avLst>
              <a:gd name="adj1" fmla="val -20833"/>
              <a:gd name="adj2" fmla="val 47560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a </a:t>
            </a:r>
            <a:r>
              <a:rPr lang="en-US" dirty="0">
                <a:latin typeface="Arial" pitchFamily="34" charset="0"/>
              </a:rPr>
              <a:t>style of software architecture that involves delivering systems as a set of very </a:t>
            </a:r>
            <a:r>
              <a:rPr lang="en-US" b="1" dirty="0">
                <a:latin typeface="Arial" pitchFamily="34" charset="0"/>
              </a:rPr>
              <a:t>small</a:t>
            </a:r>
            <a:r>
              <a:rPr lang="en-US" dirty="0">
                <a:latin typeface="Arial" pitchFamily="34" charset="0"/>
              </a:rPr>
              <a:t>, </a:t>
            </a:r>
            <a:r>
              <a:rPr lang="en-US" b="1" dirty="0">
                <a:latin typeface="Arial" pitchFamily="34" charset="0"/>
              </a:rPr>
              <a:t>granular</a:t>
            </a:r>
            <a:r>
              <a:rPr lang="en-US" dirty="0">
                <a:latin typeface="Arial" pitchFamily="34" charset="0"/>
              </a:rPr>
              <a:t>, </a:t>
            </a:r>
            <a:r>
              <a:rPr lang="en-US" b="1" dirty="0">
                <a:latin typeface="Arial" pitchFamily="34" charset="0"/>
              </a:rPr>
              <a:t>independent</a:t>
            </a:r>
            <a:r>
              <a:rPr lang="en-US" dirty="0">
                <a:latin typeface="Arial" pitchFamily="34" charset="0"/>
              </a:rPr>
              <a:t> </a:t>
            </a:r>
            <a:r>
              <a:rPr lang="en-US" b="1" dirty="0">
                <a:latin typeface="Arial" pitchFamily="34" charset="0"/>
              </a:rPr>
              <a:t>collaborating</a:t>
            </a:r>
            <a:r>
              <a:rPr lang="en-US" dirty="0">
                <a:latin typeface="Arial" pitchFamily="34" charset="0"/>
              </a:rPr>
              <a:t> </a:t>
            </a:r>
            <a:r>
              <a:rPr lang="en-US" dirty="0" smtClean="0">
                <a:latin typeface="Arial" pitchFamily="34" charset="0"/>
              </a:rPr>
              <a:t>services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4" name="Rounded Rectangular Callout 23"/>
          <p:cNvSpPr/>
          <p:nvPr/>
        </p:nvSpPr>
        <p:spPr bwMode="auto">
          <a:xfrm>
            <a:off x="251520" y="1412776"/>
            <a:ext cx="4104456" cy="1944216"/>
          </a:xfrm>
          <a:prstGeom prst="wedgeRoundRectCallout">
            <a:avLst>
              <a:gd name="adj1" fmla="val -21986"/>
              <a:gd name="adj2" fmla="val 47775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decompose </a:t>
            </a:r>
            <a:r>
              <a:rPr lang="en-US" dirty="0">
                <a:latin typeface="Arial" pitchFamily="34" charset="0"/>
              </a:rPr>
              <a:t>an application functionally into a set of </a:t>
            </a:r>
            <a:r>
              <a:rPr lang="en-US" b="1" dirty="0">
                <a:latin typeface="Arial" pitchFamily="34" charset="0"/>
              </a:rPr>
              <a:t>collaborating</a:t>
            </a:r>
            <a:r>
              <a:rPr lang="en-US" dirty="0">
                <a:latin typeface="Arial" pitchFamily="34" charset="0"/>
              </a:rPr>
              <a:t> services, each with a set of narrow, </a:t>
            </a:r>
            <a:r>
              <a:rPr lang="en-US" b="1" dirty="0">
                <a:latin typeface="Arial" pitchFamily="34" charset="0"/>
              </a:rPr>
              <a:t>related functions</a:t>
            </a:r>
            <a:r>
              <a:rPr lang="en-US" dirty="0">
                <a:latin typeface="Arial" pitchFamily="34" charset="0"/>
              </a:rPr>
              <a:t>, developed and deployed independently, with its </a:t>
            </a:r>
            <a:r>
              <a:rPr lang="en-US" b="1" dirty="0">
                <a:latin typeface="Arial" pitchFamily="34" charset="0"/>
              </a:rPr>
              <a:t>own</a:t>
            </a:r>
            <a:r>
              <a:rPr lang="en-US" dirty="0">
                <a:latin typeface="Arial" pitchFamily="34" charset="0"/>
              </a:rPr>
              <a:t> </a:t>
            </a:r>
            <a:r>
              <a:rPr lang="en-US" b="1" dirty="0" smtClean="0">
                <a:latin typeface="Arial" pitchFamily="34" charset="0"/>
              </a:rPr>
              <a:t>database</a:t>
            </a:r>
            <a:r>
              <a:rPr lang="en-US" dirty="0" smtClean="0">
                <a:latin typeface="Arial" pitchFamily="34" charset="0"/>
              </a:rPr>
              <a:t>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007977" y="3203684"/>
            <a:ext cx="209241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B. </a:t>
            </a:r>
            <a:r>
              <a:rPr lang="en-US" dirty="0" err="1" smtClean="0">
                <a:latin typeface="Arial" pitchFamily="34" charset="0"/>
              </a:rPr>
              <a:t>Wootton</a:t>
            </a:r>
            <a:r>
              <a:rPr lang="en-US" dirty="0" smtClean="0">
                <a:latin typeface="Arial" pitchFamily="34" charset="0"/>
              </a:rPr>
              <a:t>, 2014]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472556" y="5291916"/>
            <a:ext cx="227590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A. Cockcroft, 2015 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51720" y="3284984"/>
            <a:ext cx="241724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C. Richardson. 2014]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3347864" y="4653136"/>
            <a:ext cx="1080120" cy="504056"/>
            <a:chOff x="3347864" y="4653136"/>
            <a:chExt cx="1080120" cy="504056"/>
          </a:xfrm>
        </p:grpSpPr>
        <p:sp>
          <p:nvSpPr>
            <p:cNvPr id="34" name="Rectangle 33"/>
            <p:cNvSpPr/>
            <p:nvPr/>
          </p:nvSpPr>
          <p:spPr bwMode="auto">
            <a:xfrm>
              <a:off x="3419872" y="472514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3347864" y="4653136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ustomer Service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3419872" y="5373216"/>
            <a:ext cx="1080120" cy="504056"/>
            <a:chOff x="3419872" y="5373216"/>
            <a:chExt cx="1080120" cy="504056"/>
          </a:xfrm>
        </p:grpSpPr>
        <p:sp>
          <p:nvSpPr>
            <p:cNvPr id="36" name="Rectangle 35"/>
            <p:cNvSpPr/>
            <p:nvPr/>
          </p:nvSpPr>
          <p:spPr bwMode="auto">
            <a:xfrm>
              <a:off x="3491880" y="544522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 bwMode="auto">
            <a:xfrm>
              <a:off x="3419872" y="5373216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Order Service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899592" y="4149080"/>
            <a:ext cx="1080120" cy="504056"/>
            <a:chOff x="899592" y="4149080"/>
            <a:chExt cx="1080120" cy="504056"/>
          </a:xfrm>
        </p:grpSpPr>
        <p:sp>
          <p:nvSpPr>
            <p:cNvPr id="39" name="Rectangle 38"/>
            <p:cNvSpPr/>
            <p:nvPr/>
          </p:nvSpPr>
          <p:spPr bwMode="auto">
            <a:xfrm>
              <a:off x="971600" y="4221088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 bwMode="auto">
            <a:xfrm>
              <a:off x="899592" y="4149080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heckout Service</a:t>
              </a: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827584" y="5013176"/>
            <a:ext cx="1296144" cy="504056"/>
            <a:chOff x="827584" y="5013176"/>
            <a:chExt cx="1296144" cy="504056"/>
          </a:xfrm>
        </p:grpSpPr>
        <p:sp>
          <p:nvSpPr>
            <p:cNvPr id="38" name="Rectangle 37"/>
            <p:cNvSpPr/>
            <p:nvPr/>
          </p:nvSpPr>
          <p:spPr bwMode="auto">
            <a:xfrm>
              <a:off x="899592" y="5085184"/>
              <a:ext cx="122413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827584" y="5013176"/>
              <a:ext cx="122413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Order Management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347864" y="3933056"/>
            <a:ext cx="1152128" cy="504056"/>
            <a:chOff x="3347864" y="3933056"/>
            <a:chExt cx="1152128" cy="504056"/>
          </a:xfrm>
        </p:grpSpPr>
        <p:sp>
          <p:nvSpPr>
            <p:cNvPr id="29" name="Rectangle 28"/>
            <p:cNvSpPr/>
            <p:nvPr/>
          </p:nvSpPr>
          <p:spPr bwMode="auto">
            <a:xfrm>
              <a:off x="3491880" y="400506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3347864" y="3933056"/>
              <a:ext cx="1080120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atalog Service</a:t>
              </a:r>
            </a:p>
          </p:txBody>
        </p:sp>
      </p:grpSp>
      <p:cxnSp>
        <p:nvCxnSpPr>
          <p:cNvPr id="46" name="Straight Connector 45"/>
          <p:cNvCxnSpPr>
            <a:stCxn id="39" idx="3"/>
            <a:endCxn id="37" idx="1"/>
          </p:cNvCxnSpPr>
          <p:nvPr/>
        </p:nvCxnSpPr>
        <p:spPr bwMode="auto">
          <a:xfrm>
            <a:off x="1979712" y="4437112"/>
            <a:ext cx="1440160" cy="115212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38" idx="3"/>
            <a:endCxn id="35" idx="1"/>
          </p:cNvCxnSpPr>
          <p:nvPr/>
        </p:nvCxnSpPr>
        <p:spPr bwMode="auto">
          <a:xfrm flipV="1">
            <a:off x="2123728" y="4869160"/>
            <a:ext cx="1224136" cy="43204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endCxn id="37" idx="1"/>
          </p:cNvCxnSpPr>
          <p:nvPr/>
        </p:nvCxnSpPr>
        <p:spPr bwMode="auto">
          <a:xfrm>
            <a:off x="2123728" y="5373216"/>
            <a:ext cx="1296144" cy="216024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39" idx="3"/>
            <a:endCxn id="28" idx="1"/>
          </p:cNvCxnSpPr>
          <p:nvPr/>
        </p:nvCxnSpPr>
        <p:spPr bwMode="auto">
          <a:xfrm flipV="1">
            <a:off x="1979712" y="4149080"/>
            <a:ext cx="1368152" cy="28803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stCxn id="39" idx="3"/>
            <a:endCxn id="35" idx="1"/>
          </p:cNvCxnSpPr>
          <p:nvPr/>
        </p:nvCxnSpPr>
        <p:spPr bwMode="auto">
          <a:xfrm>
            <a:off x="1979712" y="4437112"/>
            <a:ext cx="1368152" cy="43204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899592" y="6021288"/>
            <a:ext cx="496855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Figure: Functional </a:t>
            </a:r>
            <a:r>
              <a:rPr lang="en-US" sz="1200" b="1" dirty="0" err="1" smtClean="0">
                <a:latin typeface="Arial" pitchFamily="34" charset="0"/>
              </a:rPr>
              <a:t>Decomompostion</a:t>
            </a:r>
            <a:r>
              <a:rPr lang="en-US" sz="1200" b="1" dirty="0" smtClean="0">
                <a:latin typeface="Arial" pitchFamily="34" charset="0"/>
              </a:rPr>
              <a:t> into </a:t>
            </a:r>
            <a:r>
              <a:rPr lang="en-US" sz="1200" b="1" dirty="0" err="1" smtClean="0">
                <a:latin typeface="Arial" pitchFamily="34" charset="0"/>
              </a:rPr>
              <a:t>microservices</a:t>
            </a:r>
            <a:endParaRPr lang="en-US" sz="1200" b="1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932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89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err="1" smtClean="0"/>
              <a:t>Microservice</a:t>
            </a:r>
            <a:r>
              <a:rPr lang="en-GB" dirty="0" smtClean="0"/>
              <a:t> Architecture style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pSp>
        <p:nvGrpSpPr>
          <p:cNvPr id="15" name="Gruppieren 16"/>
          <p:cNvGrpSpPr/>
          <p:nvPr/>
        </p:nvGrpSpPr>
        <p:grpSpPr>
          <a:xfrm>
            <a:off x="179512" y="1052736"/>
            <a:ext cx="8784976" cy="5328592"/>
            <a:chOff x="508000" y="4149079"/>
            <a:chExt cx="8128000" cy="643705"/>
          </a:xfrm>
        </p:grpSpPr>
        <p:sp>
          <p:nvSpPr>
            <p:cNvPr id="16" name="Rechteck 17"/>
            <p:cNvSpPr/>
            <p:nvPr/>
          </p:nvSpPr>
          <p:spPr bwMode="auto">
            <a:xfrm>
              <a:off x="508000" y="4163384"/>
              <a:ext cx="8128000" cy="629400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52192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67544" y="3356992"/>
            <a:ext cx="8064896" cy="2889612"/>
            <a:chOff x="539552" y="2636912"/>
            <a:chExt cx="8064896" cy="2889612"/>
          </a:xfrm>
        </p:grpSpPr>
        <p:sp>
          <p:nvSpPr>
            <p:cNvPr id="6" name="Rounded Rectangular Callout 5"/>
            <p:cNvSpPr/>
            <p:nvPr/>
          </p:nvSpPr>
          <p:spPr bwMode="auto">
            <a:xfrm>
              <a:off x="539552" y="2636912"/>
              <a:ext cx="8064896" cy="2520280"/>
            </a:xfrm>
            <a:prstGeom prst="wedgeRoundRectCallout">
              <a:avLst>
                <a:gd name="adj1" fmla="val -28157"/>
                <a:gd name="adj2" fmla="val 47734"/>
                <a:gd name="adj3" fmla="val 16667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just"/>
              <a:r>
                <a:rPr lang="en-US" dirty="0" smtClean="0">
                  <a:latin typeface="Arial" pitchFamily="34" charset="0"/>
                </a:rPr>
                <a:t>“is </a:t>
              </a:r>
              <a:r>
                <a:rPr lang="en-US" dirty="0">
                  <a:latin typeface="Arial" pitchFamily="34" charset="0"/>
                </a:rPr>
                <a:t>an approach to developing </a:t>
              </a:r>
              <a:r>
                <a:rPr lang="en-US" b="1" dirty="0">
                  <a:solidFill>
                    <a:schemeClr val="accent2"/>
                  </a:solidFill>
                  <a:latin typeface="Arial" pitchFamily="34" charset="0"/>
                </a:rPr>
                <a:t>a single application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as a </a:t>
              </a:r>
              <a:r>
                <a:rPr lang="en-US" b="1" dirty="0">
                  <a:latin typeface="Arial" pitchFamily="34" charset="0"/>
                </a:rPr>
                <a:t>suite</a:t>
              </a:r>
              <a:r>
                <a:rPr lang="en-US" dirty="0">
                  <a:latin typeface="Arial" pitchFamily="34" charset="0"/>
                </a:rPr>
                <a:t> of</a:t>
              </a:r>
              <a:r>
                <a:rPr lang="en-US" b="1" dirty="0">
                  <a:latin typeface="Arial" pitchFamily="34" charset="0"/>
                </a:rPr>
                <a:t> </a:t>
              </a:r>
              <a:endParaRPr lang="en-US" b="1" dirty="0" smtClean="0">
                <a:latin typeface="Arial" pitchFamily="34" charset="0"/>
              </a:endParaRPr>
            </a:p>
            <a:p>
              <a:pPr algn="just"/>
              <a:r>
                <a:rPr lang="en-US" b="1" dirty="0" smtClean="0">
                  <a:solidFill>
                    <a:srgbClr val="E37C4D"/>
                  </a:solidFill>
                  <a:latin typeface="Arial" pitchFamily="34" charset="0"/>
                </a:rPr>
                <a:t>small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services</a:t>
              </a:r>
              <a:r>
                <a:rPr lang="en-US" dirty="0">
                  <a:latin typeface="Arial" pitchFamily="34" charset="0"/>
                </a:rPr>
                <a:t>, each </a:t>
              </a:r>
              <a:r>
                <a:rPr lang="en-US" b="1" dirty="0">
                  <a:latin typeface="Arial" pitchFamily="34" charset="0"/>
                </a:rPr>
                <a:t>running</a:t>
              </a:r>
              <a:r>
                <a:rPr lang="en-US" dirty="0">
                  <a:latin typeface="Arial" pitchFamily="34" charset="0"/>
                </a:rPr>
                <a:t> in its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own process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and </a:t>
              </a:r>
              <a:r>
                <a:rPr lang="en-US" b="1" dirty="0">
                  <a:latin typeface="Arial" pitchFamily="34" charset="0"/>
                </a:rPr>
                <a:t>communicating</a:t>
              </a:r>
              <a:r>
                <a:rPr lang="en-US" dirty="0">
                  <a:latin typeface="Arial" pitchFamily="34" charset="0"/>
                </a:rPr>
                <a:t> with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lightweight mechanisms</a:t>
              </a:r>
              <a:r>
                <a:rPr lang="en-US" dirty="0">
                  <a:latin typeface="Arial" pitchFamily="34" charset="0"/>
                </a:rPr>
                <a:t>, often an HTTP resource API. These services are built around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business capabilities </a:t>
              </a:r>
              <a:r>
                <a:rPr lang="en-US" dirty="0">
                  <a:latin typeface="Arial" pitchFamily="34" charset="0"/>
                </a:rPr>
                <a:t>and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independently deployable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by fully automated deployment machinery. There is a bare minimum of centralized management of these services, which may be written in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different programming languages </a:t>
              </a:r>
              <a:r>
                <a:rPr lang="en-US" dirty="0">
                  <a:latin typeface="Arial" pitchFamily="34" charset="0"/>
                </a:rPr>
                <a:t>and use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different data storage </a:t>
              </a:r>
              <a:r>
                <a:rPr lang="en-US" b="1" dirty="0" smtClean="0">
                  <a:solidFill>
                    <a:srgbClr val="E37C4D"/>
                  </a:solidFill>
                  <a:latin typeface="Arial" pitchFamily="34" charset="0"/>
                </a:rPr>
                <a:t>technologies.</a:t>
              </a:r>
              <a:r>
                <a:rPr lang="en-US" b="1" dirty="0" smtClean="0">
                  <a:latin typeface="Arial" pitchFamily="34" charset="0"/>
                </a:rPr>
                <a:t>”</a:t>
              </a:r>
              <a:endParaRPr lang="en-US" b="1" dirty="0">
                <a:latin typeface="Arial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289343" y="5157192"/>
              <a:ext cx="331510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dirty="0" smtClean="0">
                  <a:latin typeface="Arial" pitchFamily="34" charset="0"/>
                </a:rPr>
                <a:t>[M. Fowler and J. Lewis, 2014]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67544" y="1988840"/>
            <a:ext cx="9289032" cy="1008112"/>
            <a:chOff x="2123728" y="2564904"/>
            <a:chExt cx="9289032" cy="1008112"/>
          </a:xfrm>
        </p:grpSpPr>
        <p:sp>
          <p:nvSpPr>
            <p:cNvPr id="24" name="Rounded Rectangle 23"/>
            <p:cNvSpPr/>
            <p:nvPr/>
          </p:nvSpPr>
          <p:spPr bwMode="auto">
            <a:xfrm>
              <a:off x="2123728" y="2564904"/>
              <a:ext cx="4536504" cy="1008112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“</a:t>
              </a:r>
              <a:r>
                <a:rPr lang="en-US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Microservices</a:t>
              </a:r>
              <a:r>
                <a:rPr lang="en-US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are </a:t>
              </a:r>
              <a:r>
                <a:rPr lang="en-US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SOA</a:t>
              </a:r>
              <a:r>
                <a:rPr lang="en-US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done right”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660232" y="2636912"/>
              <a:ext cx="3181650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[M. Fowler and J. Lewis, 2014]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660232" y="3212976"/>
              <a:ext cx="475252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 smtClean="0"/>
                <a:t>[G</a:t>
              </a:r>
              <a:r>
                <a:rPr lang="en-US" sz="1200" b="1" dirty="0"/>
                <a:t>. </a:t>
              </a:r>
              <a:r>
                <a:rPr lang="en-US" sz="1200" b="1" dirty="0" err="1"/>
                <a:t>Radchenko</a:t>
              </a:r>
              <a:r>
                <a:rPr lang="en-US" sz="1200" b="1" dirty="0"/>
                <a:t>, O. </a:t>
              </a:r>
              <a:r>
                <a:rPr lang="en-US" sz="1200" b="1" dirty="0" err="1"/>
                <a:t>Taipale</a:t>
              </a:r>
              <a:r>
                <a:rPr lang="en-US" sz="1200" b="1" dirty="0"/>
                <a:t>, and D. </a:t>
              </a:r>
              <a:r>
                <a:rPr lang="en-US" sz="1200" b="1" dirty="0" err="1" smtClean="0"/>
                <a:t>Savchenko</a:t>
              </a:r>
              <a:r>
                <a:rPr lang="en-US" sz="1200" b="1" dirty="0" smtClean="0"/>
                <a:t>, 2015]</a:t>
              </a:r>
              <a:endParaRPr lang="en-US" sz="1200" b="1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660232" y="2924944"/>
              <a:ext cx="280831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 smtClean="0"/>
                <a:t>[A</a:t>
              </a:r>
              <a:r>
                <a:rPr lang="en-US" sz="1200" b="1" dirty="0"/>
                <a:t>. </a:t>
              </a:r>
              <a:r>
                <a:rPr lang="en-US" sz="1200" b="1" dirty="0" smtClean="0"/>
                <a:t>Cockcroft, 2015]</a:t>
              </a:r>
              <a:endParaRPr lang="en-US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44659631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863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6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332161"/>
            <a:ext cx="7535885" cy="360535"/>
          </a:xfrm>
        </p:spPr>
        <p:txBody>
          <a:bodyPr/>
          <a:lstStyle/>
          <a:p>
            <a:r>
              <a:rPr lang="en-GB" dirty="0" smtClean="0"/>
              <a:t>Research Question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251521" y="2204864"/>
            <a:ext cx="8280919" cy="2088231"/>
            <a:chOff x="289164" y="4167322"/>
            <a:chExt cx="8273617" cy="625462"/>
          </a:xfrm>
        </p:grpSpPr>
        <p:sp>
          <p:nvSpPr>
            <p:cNvPr id="18" name="Rechteck 17"/>
            <p:cNvSpPr/>
            <p:nvPr/>
          </p:nvSpPr>
          <p:spPr bwMode="auto">
            <a:xfrm>
              <a:off x="434781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289164" y="4167322"/>
              <a:ext cx="8128000" cy="10945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2. What are the good practices for defining a </a:t>
              </a:r>
              <a:r>
                <a:rPr lang="en-GB" b="1" dirty="0" err="1" smtClean="0">
                  <a:solidFill>
                    <a:schemeClr val="bg1"/>
                  </a:solidFill>
                </a:rPr>
                <a:t>microservice</a:t>
              </a:r>
              <a:r>
                <a:rPr lang="en-GB" b="1" dirty="0" smtClean="0">
                  <a:solidFill>
                    <a:schemeClr val="bg1"/>
                  </a:solidFill>
                </a:rPr>
                <a:t> architecture?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3568" y="2765827"/>
            <a:ext cx="712879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What is the process of creating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 architecture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What are the quality attributes of </a:t>
            </a:r>
            <a:r>
              <a:rPr lang="en-US" dirty="0" smtClean="0">
                <a:latin typeface="Arial" pitchFamily="34" charset="0"/>
              </a:rPr>
              <a:t>a </a:t>
            </a:r>
            <a:r>
              <a:rPr lang="en-US" dirty="0" err="1" smtClean="0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implement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deploy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maintain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</p:txBody>
      </p:sp>
      <p:sp>
        <p:nvSpPr>
          <p:cNvPr id="28" name="Inhaltsplatzhalter 2"/>
          <p:cNvSpPr txBox="1">
            <a:spLocks/>
          </p:cNvSpPr>
          <p:nvPr/>
        </p:nvSpPr>
        <p:spPr bwMode="auto">
          <a:xfrm>
            <a:off x="253251" y="1412776"/>
            <a:ext cx="8135173" cy="365441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b="1" dirty="0" smtClean="0">
                <a:solidFill>
                  <a:schemeClr val="bg1"/>
                </a:solidFill>
                <a:latin typeface="Arial" pitchFamily="34" charset="0"/>
              </a:rPr>
              <a:t>1. What 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are the parameters that defines the size of a </a:t>
            </a:r>
            <a:r>
              <a:rPr lang="en-US" b="1" dirty="0" err="1">
                <a:solidFill>
                  <a:schemeClr val="bg1"/>
                </a:solidFill>
                <a:latin typeface="Arial" pitchFamily="34" charset="0"/>
              </a:rPr>
              <a:t>microservice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8511175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595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4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earch Proces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2987824" y="3212976"/>
            <a:ext cx="1944216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Search and Gather Studies</a:t>
            </a:r>
          </a:p>
        </p:txBody>
      </p:sp>
      <p:sp>
        <p:nvSpPr>
          <p:cNvPr id="25" name="Rounded Rectangle 24"/>
          <p:cNvSpPr/>
          <p:nvPr/>
        </p:nvSpPr>
        <p:spPr bwMode="auto">
          <a:xfrm>
            <a:off x="323528" y="3284984"/>
            <a:ext cx="1800200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Filter the papers</a:t>
            </a:r>
          </a:p>
        </p:txBody>
      </p:sp>
      <p:sp>
        <p:nvSpPr>
          <p:cNvPr id="28" name="Rounded Rectangle 27"/>
          <p:cNvSpPr/>
          <p:nvPr/>
        </p:nvSpPr>
        <p:spPr bwMode="auto">
          <a:xfrm>
            <a:off x="1619672" y="1628800"/>
            <a:ext cx="1872208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. Select Search Term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220072" y="870968"/>
            <a:ext cx="3456384" cy="43242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100" b="1" u="sng" dirty="0" smtClean="0">
                <a:latin typeface="Arial" pitchFamily="34" charset="0"/>
              </a:rPr>
              <a:t>1. Search Term Selection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/>
              <a:t>keywords from research </a:t>
            </a:r>
            <a:r>
              <a:rPr lang="en-US" sz="1100" dirty="0" smtClean="0"/>
              <a:t>questions and definition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/>
              <a:t>synonyms of </a:t>
            </a:r>
            <a:r>
              <a:rPr lang="en-US" sz="1100" dirty="0" smtClean="0"/>
              <a:t>keywords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accepted terms from academics and </a:t>
            </a:r>
            <a:r>
              <a:rPr lang="en-US" sz="1100" dirty="0" smtClean="0"/>
              <a:t>industry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reference discovered from papers </a:t>
            </a:r>
            <a:r>
              <a:rPr lang="en-US" sz="1100" dirty="0" smtClean="0"/>
              <a:t>selected</a:t>
            </a:r>
          </a:p>
          <a:p>
            <a:pPr marL="171450" lvl="0" indent="-171450">
              <a:buFont typeface="Arial"/>
              <a:buChar char="•"/>
            </a:pPr>
            <a:endParaRPr lang="en-US" sz="1100" dirty="0"/>
          </a:p>
          <a:p>
            <a:pPr lvl="0"/>
            <a:r>
              <a:rPr lang="en-US" sz="1100" b="1" u="sng" dirty="0" smtClean="0"/>
              <a:t>2. Resources Used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google</a:t>
            </a:r>
            <a:r>
              <a:rPr lang="en-US" sz="1100" dirty="0"/>
              <a:t> scholar (</a:t>
            </a:r>
            <a:r>
              <a:rPr lang="en-US" sz="1100" dirty="0" err="1"/>
              <a:t>scholar.google.de</a:t>
            </a:r>
            <a:r>
              <a:rPr lang="en-US" sz="1100" dirty="0"/>
              <a:t>)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IEEExplore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ACM Digital Library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Researchgate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Books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Technical </a:t>
            </a:r>
            <a:r>
              <a:rPr lang="en-US" sz="1100" dirty="0" smtClean="0"/>
              <a:t>Articles</a:t>
            </a:r>
          </a:p>
          <a:p>
            <a:pPr lvl="0"/>
            <a:endParaRPr lang="en-US" sz="1100" dirty="0" smtClean="0"/>
          </a:p>
          <a:p>
            <a:pPr lvl="0" algn="r"/>
            <a:r>
              <a:rPr lang="en-US" sz="1100" b="1" dirty="0"/>
              <a:t>	</a:t>
            </a:r>
            <a:r>
              <a:rPr lang="en-US" sz="1100" b="1" dirty="0" smtClean="0"/>
              <a:t>Materials Found : 123</a:t>
            </a:r>
          </a:p>
          <a:p>
            <a:pPr lvl="0"/>
            <a:endParaRPr lang="en-US" sz="1100" dirty="0"/>
          </a:p>
          <a:p>
            <a:pPr lvl="0"/>
            <a:r>
              <a:rPr lang="en-US" sz="1100" b="1" u="sng" dirty="0" smtClean="0"/>
              <a:t>3. Study </a:t>
            </a:r>
            <a:r>
              <a:rPr lang="en-US" sz="1100" b="1" u="sng" dirty="0" err="1" smtClean="0"/>
              <a:t>Filteration</a:t>
            </a:r>
            <a:r>
              <a:rPr lang="en-US" sz="1100" b="1" u="sng" dirty="0" smtClean="0"/>
              <a:t> Criteria</a:t>
            </a:r>
            <a:endParaRPr lang="en-US" sz="1100" b="1" u="sng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Is the study relevant to answer the research question?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smtClean="0"/>
              <a:t>Does the study have good base in terms of source as well as references of the past studies?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 smtClean="0"/>
              <a:t>Are there any case </a:t>
            </a:r>
            <a:r>
              <a:rPr lang="en-US" sz="1100" dirty="0"/>
              <a:t>studies </a:t>
            </a:r>
            <a:r>
              <a:rPr lang="en-US" sz="1100" dirty="0" smtClean="0"/>
              <a:t>provided to </a:t>
            </a:r>
            <a:r>
              <a:rPr lang="en-US" sz="1100" dirty="0"/>
              <a:t>verify the research result derived in the study</a:t>
            </a:r>
            <a:r>
              <a:rPr lang="en-US" sz="1100" dirty="0" smtClean="0"/>
              <a:t>?</a:t>
            </a:r>
            <a:endParaRPr lang="en-US" sz="1100" dirty="0"/>
          </a:p>
          <a:p>
            <a:endParaRPr lang="en-US" sz="1100" dirty="0" smtClean="0"/>
          </a:p>
          <a:p>
            <a:pPr algn="r"/>
            <a:r>
              <a:rPr lang="en-US" sz="1100" b="1" dirty="0"/>
              <a:t>	</a:t>
            </a:r>
            <a:r>
              <a:rPr lang="en-US" sz="1100" b="1" dirty="0" smtClean="0"/>
              <a:t>Materials Selected: 64</a:t>
            </a:r>
          </a:p>
        </p:txBody>
      </p:sp>
      <p:sp>
        <p:nvSpPr>
          <p:cNvPr id="34" name="Rechteck 17"/>
          <p:cNvSpPr/>
          <p:nvPr/>
        </p:nvSpPr>
        <p:spPr bwMode="auto">
          <a:xfrm>
            <a:off x="179512" y="1083140"/>
            <a:ext cx="4896544" cy="37860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Inhaltsplatzhalter 2"/>
          <p:cNvSpPr txBox="1">
            <a:spLocks/>
          </p:cNvSpPr>
          <p:nvPr/>
        </p:nvSpPr>
        <p:spPr bwMode="auto">
          <a:xfrm>
            <a:off x="179512" y="980728"/>
            <a:ext cx="489654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ata Collection Phas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2854525">
            <a:off x="3417397" y="2762703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9073944">
            <a:off x="990898" y="2815657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ight Arrow 40"/>
          <p:cNvSpPr/>
          <p:nvPr/>
        </p:nvSpPr>
        <p:spPr bwMode="auto">
          <a:xfrm rot="10800000">
            <a:off x="2195737" y="3649414"/>
            <a:ext cx="648072" cy="13962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28018" y="4365104"/>
            <a:ext cx="3379463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Data Collection Phase</a:t>
            </a:r>
          </a:p>
        </p:txBody>
      </p:sp>
      <p:sp>
        <p:nvSpPr>
          <p:cNvPr id="52" name="Titel 4"/>
          <p:cNvSpPr txBox="1">
            <a:spLocks/>
          </p:cNvSpPr>
          <p:nvPr/>
        </p:nvSpPr>
        <p:spPr bwMode="auto">
          <a:xfrm>
            <a:off x="403227" y="476177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Phase 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81714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0155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2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8142894"/>
              </p:ext>
            </p:extLst>
          </p:nvPr>
        </p:nvGraphicFramePr>
        <p:xfrm>
          <a:off x="755576" y="1052736"/>
          <a:ext cx="7632848" cy="5003021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35426"/>
                <a:gridCol w="1017713"/>
                <a:gridCol w="1526570"/>
                <a:gridCol w="1498300"/>
                <a:gridCol w="1554839"/>
              </a:tblGrid>
              <a:tr h="315889"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Topics</a:t>
                      </a:r>
                    </a:p>
                    <a:p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Keyword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iz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Quality of good </a:t>
                      </a:r>
                      <a:r>
                        <a:rPr lang="en-US" sz="1200" baseline="0" dirty="0" err="1" smtClean="0"/>
                        <a:t>Microservic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mmunica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cess</a:t>
                      </a:r>
                      <a:endParaRPr lang="en-US" sz="1200" dirty="0"/>
                    </a:p>
                  </a:txBody>
                  <a:tcPr/>
                </a:tc>
              </a:tr>
              <a:tr h="31588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Collaborating services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</a:tr>
              <a:tr h="5452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Communicating with lightweight mechanism HTTP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</a:tr>
              <a:tr h="389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Loosely coupled, related functions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</a:tr>
              <a:tr h="389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Developed and deployed independently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</a:tr>
              <a:tr h="389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Own database</a:t>
                      </a:r>
                    </a:p>
                    <a:p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</a:tr>
              <a:tr h="389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Different database technologies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</a:tr>
              <a:tr h="389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Service Oriented Architecture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</a:tr>
              <a:tr h="389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Bounded Context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</a:txBody>
                  <a:tcPr/>
                </a:tc>
              </a:tr>
              <a:tr h="389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Build around business capabilities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</a:txBody>
                  <a:tcPr/>
                </a:tc>
              </a:tr>
              <a:tr h="389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Different programming languages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ym typeface="Zapf Dingbats"/>
                        </a:rPr>
                        <a:t>✓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51520" y="404664"/>
            <a:ext cx="7535885" cy="360535"/>
          </a:xfrm>
        </p:spPr>
        <p:txBody>
          <a:bodyPr/>
          <a:lstStyle/>
          <a:p>
            <a:r>
              <a:rPr lang="en-US" sz="1800" dirty="0" smtClean="0"/>
              <a:t>Keywords And Research Question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7909221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3.09510000000000000000E+000&quot;&gt;&lt;m_msothmcolidx val=&quot;0&quot;/&gt;&lt;m_rgb r=&quot;a3&quot; g=&quot;45&quot; b=&quot;13&quot;/&gt;&lt;m_ppcolschidx tagver0=&quot;23004&quot; tagname0=&quot;m_ppcolschidxUNRECOGNIZED&quot; val=&quot;0&quot;/&gt;&lt;m_nBrightness val=&quot;0&quot;/&gt;&lt;/elem&gt;&lt;elem m_fUsage=&quot;1.44020511000000020000E+000&quot;&gt;&lt;m_msothmcolidx val=&quot;0&quot;/&gt;&lt;m_rgb r=&quot;18&quot; g=&quot;74&quot; b=&quot;cd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10&quot; g=&quot;4e&quot; b=&quot;8b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ee&quot; g=&quot;40&quot; b=&quot;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UxXL4rQUGTkxb4exCd3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s DE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s DE</Template>
  <TotalTime>0</TotalTime>
  <Words>2688</Words>
  <Application>Microsoft Macintosh PowerPoint</Application>
  <PresentationFormat>On-screen Show (4:3)</PresentationFormat>
  <Paragraphs>432</Paragraphs>
  <Slides>29</Slides>
  <Notes>2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1" baseType="lpstr">
      <vt:lpstr>slides DE</vt:lpstr>
      <vt:lpstr>think-cell Folie</vt:lpstr>
      <vt:lpstr>Designing a business platform using Microservices</vt:lpstr>
      <vt:lpstr>PowerPoint Presentation</vt:lpstr>
      <vt:lpstr>Context</vt:lpstr>
      <vt:lpstr>Context</vt:lpstr>
      <vt:lpstr>Context</vt:lpstr>
      <vt:lpstr>Context</vt:lpstr>
      <vt:lpstr>Research Questions</vt:lpstr>
      <vt:lpstr>Research Process</vt:lpstr>
      <vt:lpstr>Keywords And Research Questions</vt:lpstr>
      <vt:lpstr>Research Process</vt:lpstr>
      <vt:lpstr>PowerPoint Presentation</vt:lpstr>
      <vt:lpstr>PowerPoint Presentation</vt:lpstr>
      <vt:lpstr>PowerPoint Presentation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PowerPoint Presentation</vt:lpstr>
      <vt:lpstr>Current Status and Summary</vt:lpstr>
      <vt:lpstr>What next?</vt:lpstr>
      <vt:lpstr>Hybris Microservices Architectur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Copyright sebis</dc:description>
  <cp:lastModifiedBy/>
  <cp:revision>1</cp:revision>
  <dcterms:created xsi:type="dcterms:W3CDTF">2014-06-04T08:21:04Z</dcterms:created>
  <dcterms:modified xsi:type="dcterms:W3CDTF">2015-11-17T10:18:35Z</dcterms:modified>
</cp:coreProperties>
</file>